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Default Extension="jpg" ContentType="image/jpeg"/>
  <Override PartName="/docProps/core.xml" ContentType="application/vnd.openxmlformats-package.core-properties+xml"/>
  <Override PartName="/ppt/presentation.xml" ContentType="application/vnd.openxmlformats-officedocument.presentationml.presentation.main+xml"/>
  <Override PartName="/ppt/commentAuthors.xml" ContentType="application/vnd.openxmlformats-officedocument.presentationml.commentAuthors+xml"/>
  <Override PartName="/ppt/slides/slide1.xml" ContentType="application/vnd.openxmlformats-officedocument.presentationml.slide+xml"/>
  <Override PartName="/ppt/notesSlides/notesSlide1.xml" ContentType="application/vnd.openxmlformats-officedocument.presentationml.notesSlide+xml"/>
  <Override PartName="/ppt/notesMasters/notesMaster1.xml" ContentType="application/vnd.openxmlformats-officedocument.presentationml.notesMaster+xml"/>
  <Override PartName="/ppt/theme/theme3.xml" ContentType="application/vnd.openxmlformats-officedocument.theme+xml"/>
  <Override PartName="/ppt/slideLayouts/slideLayout12.xml" ContentType="application/vnd.openxmlformats-officedocument.presentationml.slideLayout+xml"/>
  <Override PartName="/ppt/slideMasters/slideMaster2.xml" ContentType="application/vnd.openxmlformats-officedocument.presentationml.slideMaster+xml"/>
  <Override PartName="/ppt/slideLayouts/slideLayout19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8.xml" ContentType="application/vnd.openxmlformats-officedocument.presentationml.slideLayout+xml"/>
  <Override PartName="/ppt/tags/tag2.xml" ContentType="application/vnd.openxmlformats-officedocument.presentationml.tags+xml"/>
  <Override PartName="/ppt/slideLayouts/slideLayout13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1.xml" ContentType="application/vnd.openxmlformats-officedocument.presentationml.tags+xml"/>
  <Override PartName="/ppt/slideLayouts/slideLayout16.xml" ContentType="application/vnd.openxmlformats-officedocument.presentationml.slideLayout+xml"/>
  <Override PartName="/ppt/slideLayouts/slideLayout15.xml" ContentType="application/vnd.openxmlformats-officedocument.presentationml.slideLayout+xml"/>
  <Override PartName="/ppt/theme/theme2.xml" ContentType="application/vnd.openxmlformats-officedocument.theme+xml"/>
  <Override PartName="/ppt/slides/slide2.xml" ContentType="application/vnd.openxmlformats-officedocument.presentationml.slide+xml"/>
  <Override PartName="/ppt/notesSlides/notesSlide2.xml" ContentType="application/vnd.openxmlformats-officedocument.presentationml.notesSlide+xml"/>
  <Override PartName="/ppt/slideLayouts/slideLayout2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Layouts/slideLayout8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7.xml" ContentType="application/vnd.openxmlformats-officedocument.presentationml.slideLayout+xml"/>
  <Override PartName="/ppt/theme/theme1.xml" ContentType="application/vnd.openxmlformats-officedocument.theme+xml"/>
  <Override PartName="/ppt/slideLayouts/slideLayout1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s/slide3.xml" ContentType="application/vnd.openxmlformats-officedocument.presentationml.slide+xml"/>
  <Override PartName="/ppt/notesSlides/notesSlide3.xml" ContentType="application/vnd.openxmlformats-officedocument.presentationml.notesSlide+xml"/>
  <Override PartName="/ppt/slides/slide4.xml" ContentType="application/vnd.openxmlformats-officedocument.presentationml.slide+xml"/>
  <Override PartName="/ppt/notesSlides/notesSlide4.xml" ContentType="application/vnd.openxmlformats-officedocument.presentationml.notesSlide+xml"/>
  <Override PartName="/ppt/slides/slide5.xml" ContentType="application/vnd.openxmlformats-officedocument.presentationml.slide+xml"/>
  <Override PartName="/ppt/notesSlides/notesSlide5.xml" ContentType="application/vnd.openxmlformats-officedocument.presentationml.notesSlide+xml"/>
  <Override PartName="/ppt/slides/slide6.xml" ContentType="application/vnd.openxmlformats-officedocument.presentationml.slide+xml"/>
  <Override PartName="/ppt/notesSlides/notesSlide6.xml" ContentType="application/vnd.openxmlformats-officedocument.presentationml.notesSlide+xml"/>
  <Override PartName="/ppt/slides/slide7.xml" ContentType="application/vnd.openxmlformats-officedocument.presentationml.slide+xml"/>
  <Override PartName="/ppt/notesSlides/notesSlide7.xml" ContentType="application/vnd.openxmlformats-officedocument.presentationml.notesSlide+xml"/>
  <Override PartName="/ppt/slides/slide8.xml" ContentType="application/vnd.openxmlformats-officedocument.presentationml.slide+xml"/>
  <Override PartName="/ppt/notesSlides/notesSlide8.xml" ContentType="application/vnd.openxmlformats-officedocument.presentationml.notesSlide+xml"/>
  <Override PartName="/ppt/slides/slide9.xml" ContentType="application/vnd.openxmlformats-officedocument.presentationml.slide+xml"/>
  <Override PartName="/ppt/notesSlides/notesSlide9.xml" ContentType="application/vnd.openxmlformats-officedocument.presentationml.notesSlide+xml"/>
  <Override PartName="/ppt/slides/slide10.xml" ContentType="application/vnd.openxmlformats-officedocument.presentationml.slide+xml"/>
  <Override PartName="/ppt/notesSlides/notesSlide10.xml" ContentType="application/vnd.openxmlformats-officedocument.presentationml.notesSlide+xml"/>
  <Override PartName="/ppt/slides/slide11.xml" ContentType="application/vnd.openxmlformats-officedocument.presentationml.slide+xml"/>
  <Override PartName="/ppt/notesSlides/notesSlide11.xml" ContentType="application/vnd.openxmlformats-officedocument.presentationml.notesSlide+xml"/>
  <Override PartName="/ppt/slides/slide12.xml" ContentType="application/vnd.openxmlformats-officedocument.presentationml.slide+xml"/>
  <Override PartName="/ppt/notesSlides/notesSlide12.xml" ContentType="application/vnd.openxmlformats-officedocument.presentationml.notesSlide+xml"/>
  <Override PartName="/ppt/slides/slide13.xml" ContentType="application/vnd.openxmlformats-officedocument.presentationml.slide+xml"/>
  <Override PartName="/ppt/notesSlides/notesSlide13.xml" ContentType="application/vnd.openxmlformats-officedocument.presentationml.notesSlide+xml"/>
  <Override PartName="/ppt/slides/slide14.xml" ContentType="application/vnd.openxmlformats-officedocument.presentationml.slide+xml"/>
  <Override PartName="/ppt/notesSlides/notesSlide14.xml" ContentType="application/vnd.openxmlformats-officedocument.presentationml.notesSlide+xml"/>
  <Override PartName="/customXml/itemProps3.xml" ContentType="application/vnd.openxmlformats-officedocument.customXmlProperties+xml"/>
  <Override PartName="/ppt/tableStyles.xml" ContentType="application/vnd.openxmlformats-officedocument.presentationml.tableStyles+xml"/>
  <Override PartName="/customXml/itemProps2.xml" ContentType="application/vnd.openxmlformats-officedocument.customXmlProperties+xml"/>
  <Override PartName="/customXml/itemProps1.xml" ContentType="application/vnd.openxmlformats-officedocument.customXmlProperties+xml"/>
  <Override PartName="/ppt/viewProps.xml" ContentType="application/vnd.openxmlformats-officedocument.presentationml.viewProps+xml"/>
  <Override PartName="/ppt/presProps.xml" ContentType="application/vnd.openxmlformats-officedocument.presentationml.presProp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74" r:id="rId5"/>
  </p:sldMasterIdLst>
  <p:notesMasterIdLst>
    <p:notesMasterId r:id="rId20"/>
  </p:notesMasterIdLst>
  <p:sldIdLst>
    <p:sldId id="305" r:id="rId6"/>
    <p:sldId id="373" r:id="rId7"/>
    <p:sldId id="357" r:id="rId8"/>
    <p:sldId id="377" r:id="rId9"/>
    <p:sldId id="374" r:id="rId10"/>
    <p:sldId id="378" r:id="rId11"/>
    <p:sldId id="348" r:id="rId12"/>
    <p:sldId id="376" r:id="rId13"/>
    <p:sldId id="358" r:id="rId14"/>
    <p:sldId id="375" r:id="rId15"/>
    <p:sldId id="380" r:id="rId16"/>
    <p:sldId id="381" r:id="rId17"/>
    <p:sldId id="372" r:id="rId18"/>
    <p:sldId id="379" r:id="rId19"/>
  </p:sldIdLst>
  <p:sldSz cx="9144000" cy="6858000" type="screen4x3"/>
  <p:notesSz cx="6985000" cy="9271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212CED6B-E5E1-4871-A1B8-34D1533A3835}">
          <p14:sldIdLst>
            <p14:sldId id="305"/>
            <p14:sldId id="373"/>
            <p14:sldId id="357"/>
            <p14:sldId id="377"/>
            <p14:sldId id="374"/>
            <p14:sldId id="378"/>
            <p14:sldId id="348"/>
            <p14:sldId id="376"/>
            <p14:sldId id="358"/>
            <p14:sldId id="375"/>
            <p14:sldId id="380"/>
            <p14:sldId id="381"/>
            <p14:sldId id="372"/>
            <p14:sldId id="379"/>
          </p14:sldIdLst>
        </p14:section>
      </p14:sectionLst>
    </p:ext>
    <p:ext uri="{EFAFB233-063F-42B5-8137-9DF3F51BA10A}">
      <p15:sldGuideLst xmlns="" xmlns:p15="http://schemas.microsoft.com/office/powerpoint/2012/main">
        <p15:guide id="2" pos="2904" userDrawn="1">
          <p15:clr>
            <a:srgbClr val="A4A3A4"/>
          </p15:clr>
        </p15:guide>
        <p15:guide id="3" pos="5568" userDrawn="1">
          <p15:clr>
            <a:srgbClr val="A4A3A4"/>
          </p15:clr>
        </p15:guide>
        <p15:guide id="5" orient="horz" pos="4128" userDrawn="1">
          <p15:clr>
            <a:srgbClr val="A4A3A4"/>
          </p15:clr>
        </p15:guide>
        <p15:guide id="6" pos="4872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Berlacher, Lauren [USA]" initials="BL[" lastIdx="4" clrIdx="0">
    <p:extLst/>
  </p:cmAuthor>
  <p:cmAuthor id="2" name="Mehta, Neij [USA]" initials="MN[" lastIdx="2" clrIdx="1">
    <p:extLst/>
  </p:cmAuthor>
  <p:cmAuthor id="3" name="Department of Treasury" initials="DoT" lastIdx="10" clrIdx="2"/>
  <p:cmAuthor id="4" name="Kimberly Edwards" initials="KEd" lastIdx="8" clrIdx="3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BFBFBF"/>
    <a:srgbClr val="0000FF"/>
    <a:srgbClr val="008000"/>
    <a:srgbClr val="FF6600"/>
    <a:srgbClr val="FF9900"/>
    <a:srgbClr val="00C85A"/>
    <a:srgbClr val="9ED3D7"/>
    <a:srgbClr val="006600"/>
    <a:srgbClr val="CC99FF"/>
    <a:srgbClr val="FFB7B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=""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5772" autoAdjust="0"/>
    <p:restoredTop sz="94434" autoAdjust="0"/>
  </p:normalViewPr>
  <p:slideViewPr>
    <p:cSldViewPr snapToGrid="0">
      <p:cViewPr>
        <p:scale>
          <a:sx n="77" d="100"/>
          <a:sy n="77" d="100"/>
        </p:scale>
        <p:origin x="-1578" y="210"/>
      </p:cViewPr>
      <p:guideLst>
        <p:guide orient="horz" pos="4128"/>
        <p:guide pos="2904"/>
        <p:guide pos="5568"/>
        <p:guide pos="4872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1632"/>
    </p:cViewPr>
  </p:sorterViewPr>
  <p:gridSpacing cx="76200" cy="76200"/>
</p:viewPr>
</file>

<file path=ppt/_rels/presentation.xml.rels>&#65279;<?xml version="1.0" encoding="UTF-8" standalone="yes"?>
<Relationships xmlns="http://schemas.openxmlformats.org/package/2006/relationships">
  <Relationship Id="rId21" Type="http://schemas.openxmlformats.org/officeDocument/2006/relationships/commentAuthors" Target="commentAuthors.xml" />
  <Relationship Id="rId6" Type="http://schemas.openxmlformats.org/officeDocument/2006/relationships/slide" Target="slides/slide1.xml" />
  <Relationship Id="rId7" Type="http://schemas.openxmlformats.org/officeDocument/2006/relationships/slide" Target="slides/slide2.xml" />
  <Relationship Id="rId8" Type="http://schemas.openxmlformats.org/officeDocument/2006/relationships/slide" Target="slides/slide3.xml" />
  <Relationship Id="rId9" Type="http://schemas.openxmlformats.org/officeDocument/2006/relationships/slide" Target="slides/slide4.xml" />
  <Relationship Id="rId10" Type="http://schemas.openxmlformats.org/officeDocument/2006/relationships/slide" Target="slides/slide5.xml" />
  <Relationship Id="rId11" Type="http://schemas.openxmlformats.org/officeDocument/2006/relationships/slide" Target="slides/slide6.xml" />
  <Relationship Id="rId12" Type="http://schemas.openxmlformats.org/officeDocument/2006/relationships/slide" Target="slides/slide7.xml" />
  <Relationship Id="rId13" Type="http://schemas.openxmlformats.org/officeDocument/2006/relationships/slide" Target="slides/slide8.xml" />
  <Relationship Id="rId14" Type="http://schemas.openxmlformats.org/officeDocument/2006/relationships/slide" Target="slides/slide9.xml" />
  <Relationship Id="rId15" Type="http://schemas.openxmlformats.org/officeDocument/2006/relationships/slide" Target="slides/slide10.xml" />
  <Relationship Id="rId16" Type="http://schemas.openxmlformats.org/officeDocument/2006/relationships/slide" Target="slides/slide11.xml" />
  <Relationship Id="rId17" Type="http://schemas.openxmlformats.org/officeDocument/2006/relationships/slide" Target="slides/slide12.xml" />
  <Relationship Id="rId18" Type="http://schemas.openxmlformats.org/officeDocument/2006/relationships/slide" Target="slides/slide13.xml" />
  <Relationship Id="rId19" Type="http://schemas.openxmlformats.org/officeDocument/2006/relationships/slide" Target="slides/slide14.xml" />
  <Relationship Id="rId3" Type="http://schemas.openxmlformats.org/officeDocument/2006/relationships/customXml" Target="../customXml/item3.xml" />
  <Relationship Id="rId25" Type="http://schemas.openxmlformats.org/officeDocument/2006/relationships/tableStyles" Target="tableStyles.xml" />
  <Relationship Id="rId2" Type="http://schemas.openxmlformats.org/officeDocument/2006/relationships/customXml" Target="../customXml/item2.xml" />
  <Relationship Id="rId20" Type="http://schemas.openxmlformats.org/officeDocument/2006/relationships/notesMaster" Target="notesMasters/notesMaster1.xml" />
  <Relationship Id="rId1" Type="http://schemas.openxmlformats.org/officeDocument/2006/relationships/customXml" Target="../customXml/item1.xml" />
  <Relationship Id="rId24" Type="http://schemas.openxmlformats.org/officeDocument/2006/relationships/theme" Target="theme/theme1.xml" />
  <Relationship Id="rId5" Type="http://schemas.openxmlformats.org/officeDocument/2006/relationships/slideMaster" Target="slideMasters/slideMaster2.xml" />
  <Relationship Id="rId23" Type="http://schemas.openxmlformats.org/officeDocument/2006/relationships/viewProps" Target="viewProps.xml" />
  <Relationship Id="rId4" Type="http://schemas.openxmlformats.org/officeDocument/2006/relationships/slideMaster" Target="slideMasters/slideMaster1.xml" />
  <Relationship Id="rId22" Type="http://schemas.openxmlformats.org/officeDocument/2006/relationships/presProps" Target="presProps.xml" />
</Relationships>
</file>

<file path=ppt/drawings/_rels/vmlDrawing1.vml.rels>&#65279;<?xml version="1.0" encoding="UTF-8" standalone="yes"?>
<Relationships xmlns="http://schemas.openxmlformats.org/package/2006/relationships">
  <Relationship Id="rId1" Type="http://schemas.openxmlformats.org/officeDocument/2006/relationships/image" Target="../media/image5.emf" />
</Relationships>
</file>

<file path=ppt/drawings/_rels/vmlDrawing2.vml.rels>&#65279;<?xml version="1.0" encoding="UTF-8" standalone="yes"?>
<Relationships xmlns="http://schemas.openxmlformats.org/package/2006/relationships">
  <Relationship Id="rId1" Type="http://schemas.openxmlformats.org/officeDocument/2006/relationships/image" Target="../media/image6.emf" />
</Relationships>
</file>

<file path=ppt/drawings/_rels/vmlDrawing3.vml.rels>&#65279;<?xml version="1.0" encoding="UTF-8" standalone="yes"?>
<Relationships xmlns="http://schemas.openxmlformats.org/package/2006/relationships">
  <Relationship Id="rId1" Type="http://schemas.openxmlformats.org/officeDocument/2006/relationships/image" Target="../media/image18.emf" />
</Relationships>
</file>

<file path=ppt/notesMasters/_rels/notesMaster1.xml.rels>&#65279;<?xml version="1.0" encoding="UTF-8" standalone="yes"?>
<Relationships xmlns="http://schemas.openxmlformats.org/package/2006/relationships">
  <Relationship Id="rId1" Type="http://schemas.openxmlformats.org/officeDocument/2006/relationships/theme" Target="../theme/theme3.xml" />
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26833" cy="46355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56550" y="0"/>
            <a:ext cx="3026833" cy="46355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CAFC049-C472-4ABA-8221-67A6073A9A86}" type="datetimeFigureOut">
              <a:rPr lang="en-US" smtClean="0"/>
              <a:t>10/5/2015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74750" y="695325"/>
            <a:ext cx="4635500" cy="3476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98500" y="4403725"/>
            <a:ext cx="5588000" cy="41719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05841"/>
            <a:ext cx="3026833" cy="46355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56550" y="8805841"/>
            <a:ext cx="3026833" cy="46355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B578DE0-2C04-4FC1-9984-7F939DB2F8B2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0677487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&#65279;<?xml version="1.0" encoding="UTF-8" standalone="yes"?>
<Relationships xmlns="http://schemas.openxmlformats.org/package/2006/relationships">
  <Relationship Id="rId2" Type="http://schemas.openxmlformats.org/officeDocument/2006/relationships/slide" Target="../slides/slide1.xml" />
  <Relationship Id="rId1" Type="http://schemas.openxmlformats.org/officeDocument/2006/relationships/notesMaster" Target="../notesMasters/notesMaster1.xml" />
</Relationships>
</file>

<file path=ppt/notesSlides/_rels/notesSlide10.xml.rels>&#65279;<?xml version="1.0" encoding="UTF-8" standalone="yes"?>
<Relationships xmlns="http://schemas.openxmlformats.org/package/2006/relationships">
  <Relationship Id="rId2" Type="http://schemas.openxmlformats.org/officeDocument/2006/relationships/slide" Target="../slides/slide10.xml" />
  <Relationship Id="rId1" Type="http://schemas.openxmlformats.org/officeDocument/2006/relationships/notesMaster" Target="../notesMasters/notesMaster1.xml" />
</Relationships>
</file>

<file path=ppt/notesSlides/_rels/notesSlide11.xml.rels>&#65279;<?xml version="1.0" encoding="UTF-8" standalone="yes"?>
<Relationships xmlns="http://schemas.openxmlformats.org/package/2006/relationships">
  <Relationship Id="rId2" Type="http://schemas.openxmlformats.org/officeDocument/2006/relationships/slide" Target="../slides/slide11.xml" />
  <Relationship Id="rId1" Type="http://schemas.openxmlformats.org/officeDocument/2006/relationships/notesMaster" Target="../notesMasters/notesMaster1.xml" />
</Relationships>
</file>

<file path=ppt/notesSlides/_rels/notesSlide12.xml.rels>&#65279;<?xml version="1.0" encoding="UTF-8" standalone="yes"?>
<Relationships xmlns="http://schemas.openxmlformats.org/package/2006/relationships">
  <Relationship Id="rId2" Type="http://schemas.openxmlformats.org/officeDocument/2006/relationships/slide" Target="../slides/slide12.xml" />
  <Relationship Id="rId1" Type="http://schemas.openxmlformats.org/officeDocument/2006/relationships/notesMaster" Target="../notesMasters/notesMaster1.xml" />
</Relationships>
</file>

<file path=ppt/notesSlides/_rels/notesSlide13.xml.rels>&#65279;<?xml version="1.0" encoding="UTF-8" standalone="yes"?>
<Relationships xmlns="http://schemas.openxmlformats.org/package/2006/relationships">
  <Relationship Id="rId2" Type="http://schemas.openxmlformats.org/officeDocument/2006/relationships/slide" Target="../slides/slide13.xml" />
  <Relationship Id="rId1" Type="http://schemas.openxmlformats.org/officeDocument/2006/relationships/notesMaster" Target="../notesMasters/notesMaster1.xml" />
</Relationships>
</file>

<file path=ppt/notesSlides/_rels/notesSlide14.xml.rels>&#65279;<?xml version="1.0" encoding="UTF-8" standalone="yes"?>
<Relationships xmlns="http://schemas.openxmlformats.org/package/2006/relationships">
  <Relationship Id="rId2" Type="http://schemas.openxmlformats.org/officeDocument/2006/relationships/slide" Target="../slides/slide14.xml" />
  <Relationship Id="rId1" Type="http://schemas.openxmlformats.org/officeDocument/2006/relationships/notesMaster" Target="../notesMasters/notesMaster1.xml" />
</Relationships>
</file>

<file path=ppt/notesSlides/_rels/notesSlide2.xml.rels>&#65279;<?xml version="1.0" encoding="UTF-8" standalone="yes"?>
<Relationships xmlns="http://schemas.openxmlformats.org/package/2006/relationships">
  <Relationship Id="rId2" Type="http://schemas.openxmlformats.org/officeDocument/2006/relationships/slide" Target="../slides/slide2.xml" />
  <Relationship Id="rId1" Type="http://schemas.openxmlformats.org/officeDocument/2006/relationships/notesMaster" Target="../notesMasters/notesMaster1.xml" />
</Relationships>
</file>

<file path=ppt/notesSlides/_rels/notesSlide3.xml.rels>&#65279;<?xml version="1.0" encoding="UTF-8" standalone="yes"?>
<Relationships xmlns="http://schemas.openxmlformats.org/package/2006/relationships">
  <Relationship Id="rId2" Type="http://schemas.openxmlformats.org/officeDocument/2006/relationships/slide" Target="../slides/slide3.xml" />
  <Relationship Id="rId1" Type="http://schemas.openxmlformats.org/officeDocument/2006/relationships/notesMaster" Target="../notesMasters/notesMaster1.xml" />
</Relationships>
</file>

<file path=ppt/notesSlides/_rels/notesSlide4.xml.rels>&#65279;<?xml version="1.0" encoding="UTF-8" standalone="yes"?>
<Relationships xmlns="http://schemas.openxmlformats.org/package/2006/relationships">
  <Relationship Id="rId2" Type="http://schemas.openxmlformats.org/officeDocument/2006/relationships/slide" Target="../slides/slide4.xml" />
  <Relationship Id="rId1" Type="http://schemas.openxmlformats.org/officeDocument/2006/relationships/notesMaster" Target="../notesMasters/notesMaster1.xml" />
</Relationships>
</file>

<file path=ppt/notesSlides/_rels/notesSlide5.xml.rels>&#65279;<?xml version="1.0" encoding="UTF-8" standalone="yes"?>
<Relationships xmlns="http://schemas.openxmlformats.org/package/2006/relationships">
  <Relationship Id="rId2" Type="http://schemas.openxmlformats.org/officeDocument/2006/relationships/slide" Target="../slides/slide5.xml" />
  <Relationship Id="rId1" Type="http://schemas.openxmlformats.org/officeDocument/2006/relationships/notesMaster" Target="../notesMasters/notesMaster1.xml" />
</Relationships>
</file>

<file path=ppt/notesSlides/_rels/notesSlide6.xml.rels>&#65279;<?xml version="1.0" encoding="UTF-8" standalone="yes"?>
<Relationships xmlns="http://schemas.openxmlformats.org/package/2006/relationships">
  <Relationship Id="rId2" Type="http://schemas.openxmlformats.org/officeDocument/2006/relationships/slide" Target="../slides/slide6.xml" />
  <Relationship Id="rId1" Type="http://schemas.openxmlformats.org/officeDocument/2006/relationships/notesMaster" Target="../notesMasters/notesMaster1.xml" />
</Relationships>
</file>

<file path=ppt/notesSlides/_rels/notesSlide7.xml.rels>&#65279;<?xml version="1.0" encoding="UTF-8" standalone="yes"?>
<Relationships xmlns="http://schemas.openxmlformats.org/package/2006/relationships">
  <Relationship Id="rId2" Type="http://schemas.openxmlformats.org/officeDocument/2006/relationships/slide" Target="../slides/slide7.xml" />
  <Relationship Id="rId1" Type="http://schemas.openxmlformats.org/officeDocument/2006/relationships/notesMaster" Target="../notesMasters/notesMaster1.xml" />
</Relationships>
</file>

<file path=ppt/notesSlides/_rels/notesSlide8.xml.rels>&#65279;<?xml version="1.0" encoding="UTF-8" standalone="yes"?>
<Relationships xmlns="http://schemas.openxmlformats.org/package/2006/relationships">
  <Relationship Id="rId2" Type="http://schemas.openxmlformats.org/officeDocument/2006/relationships/slide" Target="../slides/slide8.xml" />
  <Relationship Id="rId1" Type="http://schemas.openxmlformats.org/officeDocument/2006/relationships/notesMaster" Target="../notesMasters/notesMaster1.xml" />
</Relationships>
</file>

<file path=ppt/notesSlides/_rels/notesSlide9.xml.rels>&#65279;<?xml version="1.0" encoding="UTF-8" standalone="yes"?>
<Relationships xmlns="http://schemas.openxmlformats.org/package/2006/relationships">
  <Relationship Id="rId2" Type="http://schemas.openxmlformats.org/officeDocument/2006/relationships/slide" Target="../slides/slide9.xml" />
  <Relationship Id="rId1" Type="http://schemas.openxmlformats.org/officeDocument/2006/relationships/notesMaster" Target="../notesMasters/notesMaster1.xml" />
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173163" y="695325"/>
            <a:ext cx="4640262" cy="34798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5239695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12953710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44478867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38390931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56804424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2750557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4665962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298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defTabSz="897301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sp>
        <p:nvSpPr>
          <p:cNvPr id="55300" name="Slide Number Placeholder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1pPr>
            <a:lvl2pPr marL="742950" indent="-285750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2pPr>
            <a:lvl3pPr marL="1143000" indent="-228600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3pPr>
            <a:lvl4pPr marL="1600200" indent="-228600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4pPr>
            <a:lvl5pPr marL="2057400" indent="-228600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5pPr>
            <a:lvl6pPr marL="2514600" indent="-228600" defTabSz="4572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6pPr>
            <a:lvl7pPr marL="2971800" indent="-228600" defTabSz="4572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7pPr>
            <a:lvl8pPr marL="3429000" indent="-228600" defTabSz="4572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8pPr>
            <a:lvl9pPr marL="3886200" indent="-228600" defTabSz="4572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9pPr>
          </a:lstStyle>
          <a:p>
            <a:pPr>
              <a:spcBef>
                <a:spcPct val="0"/>
              </a:spcBef>
            </a:pPr>
            <a:endParaRPr lang="en-US" altLang="en-US" smtClean="0">
              <a:solidFill>
                <a:srgbClr val="000000"/>
              </a:solidFill>
              <a:latin typeface="Arial" charset="0"/>
            </a:endParaRPr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1146281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5074339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6289942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250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1173163" y="695325"/>
            <a:ext cx="4640262" cy="3479800"/>
          </a:xfrm>
          <a:ln/>
        </p:spPr>
      </p:sp>
      <p:sp>
        <p:nvSpPr>
          <p:cNvPr id="53251" name="Notes Placeholder 2"/>
          <p:cNvSpPr>
            <a:spLocks noGrp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endParaRPr lang="en-US" altLang="en-US" dirty="0" smtClean="0">
              <a:ea typeface="ＭＳ Ｐゴシック" pitchFamily="34" charset="-128"/>
            </a:endParaRPr>
          </a:p>
        </p:txBody>
      </p:sp>
      <p:sp>
        <p:nvSpPr>
          <p:cNvPr id="53252" name="Slide Number Placeholder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1pPr>
            <a:lvl2pPr marL="742909" indent="-285734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2pPr>
            <a:lvl3pPr marL="1142937" indent="-228587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3pPr>
            <a:lvl4pPr marL="1600112" indent="-228587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4pPr>
            <a:lvl5pPr marL="2057287" indent="-228587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5pPr>
            <a:lvl6pPr marL="2514461" indent="-228587" defTabSz="457175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6pPr>
            <a:lvl7pPr marL="2971635" indent="-228587" defTabSz="457175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7pPr>
            <a:lvl8pPr marL="3428810" indent="-228587" defTabSz="457175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8pPr>
            <a:lvl9pPr marL="3885985" indent="-228587" defTabSz="457175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9pPr>
          </a:lstStyle>
          <a:p>
            <a:pPr>
              <a:spcBef>
                <a:spcPct val="0"/>
              </a:spcBef>
            </a:pPr>
            <a:endParaRPr lang="en-US" altLang="en-US" smtClean="0">
              <a:latin typeface="Arial" charset="0"/>
            </a:endParaRPr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1167377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3376451"/>
      </p:ext>
    </p:extLst>
  </p:cSld>
  <p:clrMapOvr>
    <a:masterClrMapping/>
  </p:clrMapOvr>
</p:notes>
</file>

<file path=ppt/slideLayouts/_rels/slideLayout1.xml.rels>&#65279;<?xml version="1.0" encoding="UTF-8" standalone="yes"?>
<Relationships xmlns="http://schemas.openxmlformats.org/package/2006/relationships">
  <Relationship Id="rId3" Type="http://schemas.openxmlformats.org/officeDocument/2006/relationships/image" Target="../media/image4.jpeg" />
  <Relationship Id="rId2" Type="http://schemas.openxmlformats.org/officeDocument/2006/relationships/image" Target="../media/image3.jpeg" />
  <Relationship Id="rId1" Type="http://schemas.openxmlformats.org/officeDocument/2006/relationships/slideMaster" Target="../slideMasters/slideMaster1.xml" />
  <Relationship Id="rId4" Type="http://schemas.openxmlformats.org/officeDocument/2006/relationships/image" Target="../media/image2.png" />
</Relationships>
</file>

<file path=ppt/slideLayouts/_rels/slideLayout10.xml.rels>&#65279;<?xml version="1.0" encoding="UTF-8" standalone="yes"?>
<Relationships xmlns="http://schemas.openxmlformats.org/package/2006/relationships">
  <Relationship Id="rId1" Type="http://schemas.openxmlformats.org/officeDocument/2006/relationships/slideMaster" Target="../slideMasters/slideMaster1.xml" />
</Relationships>
</file>

<file path=ppt/slideLayouts/_rels/slideLayout11.xml.rels>&#65279;<?xml version="1.0" encoding="UTF-8" standalone="yes"?>
<Relationships xmlns="http://schemas.openxmlformats.org/package/2006/relationships">
  <Relationship Id="rId1" Type="http://schemas.openxmlformats.org/officeDocument/2006/relationships/slideMaster" Target="../slideMasters/slideMaster1.xml" />
</Relationships>
</file>

<file path=ppt/slideLayouts/_rels/slideLayout12.xml.rels>&#65279;<?xml version="1.0" encoding="UTF-8" standalone="yes"?>
<Relationships xmlns="http://schemas.openxmlformats.org/package/2006/relationships">
  <Relationship Id="rId1" Type="http://schemas.openxmlformats.org/officeDocument/2006/relationships/slideMaster" Target="../slideMasters/slideMaster2.xml" />
</Relationships>
</file>

<file path=ppt/slideLayouts/_rels/slideLayout13.xml.rels>&#65279;<?xml version="1.0" encoding="UTF-8" standalone="yes"?>
<Relationships xmlns="http://schemas.openxmlformats.org/package/2006/relationships">
  <Relationship Id="rId1" Type="http://schemas.openxmlformats.org/officeDocument/2006/relationships/slideMaster" Target="../slideMasters/slideMaster2.xml" />
</Relationships>
</file>

<file path=ppt/slideLayouts/_rels/slideLayout14.xml.rels>&#65279;<?xml version="1.0" encoding="UTF-8" standalone="yes"?>
<Relationships xmlns="http://schemas.openxmlformats.org/package/2006/relationships">
  <Relationship Id="rId1" Type="http://schemas.openxmlformats.org/officeDocument/2006/relationships/slideMaster" Target="../slideMasters/slideMaster2.xml" />
</Relationships>
</file>

<file path=ppt/slideLayouts/_rels/slideLayout15.xml.rels>&#65279;<?xml version="1.0" encoding="UTF-8" standalone="yes"?>
<Relationships xmlns="http://schemas.openxmlformats.org/package/2006/relationships">
  <Relationship Id="rId1" Type="http://schemas.openxmlformats.org/officeDocument/2006/relationships/slideMaster" Target="../slideMasters/slideMaster2.xml" />
</Relationships>
</file>

<file path=ppt/slideLayouts/_rels/slideLayout16.xml.rels>&#65279;<?xml version="1.0" encoding="UTF-8" standalone="yes"?>
<Relationships xmlns="http://schemas.openxmlformats.org/package/2006/relationships">
  <Relationship Id="rId1" Type="http://schemas.openxmlformats.org/officeDocument/2006/relationships/slideMaster" Target="../slideMasters/slideMaster2.xml" />
</Relationships>
</file>

<file path=ppt/slideLayouts/_rels/slideLayout17.xml.rels>&#65279;<?xml version="1.0" encoding="UTF-8" standalone="yes"?>
<Relationships xmlns="http://schemas.openxmlformats.org/package/2006/relationships">
  <Relationship Id="rId1" Type="http://schemas.openxmlformats.org/officeDocument/2006/relationships/slideMaster" Target="../slideMasters/slideMaster2.xml" />
</Relationships>
</file>

<file path=ppt/slideLayouts/_rels/slideLayout18.xml.rels>&#65279;<?xml version="1.0" encoding="UTF-8" standalone="yes"?>
<Relationships xmlns="http://schemas.openxmlformats.org/package/2006/relationships">
  <Relationship Id="rId3" Type="http://schemas.openxmlformats.org/officeDocument/2006/relationships/slideMaster" Target="../slideMasters/slideMaster2.xml" />
  <Relationship Id="rId2" Type="http://schemas.openxmlformats.org/officeDocument/2006/relationships/tags" Target="../tags/tag2.xml" />
  <Relationship Id="rId1" Type="http://schemas.openxmlformats.org/officeDocument/2006/relationships/vmlDrawing" Target="../drawings/vmlDrawing2.vml" />
  <Relationship Id="rId5" Type="http://schemas.openxmlformats.org/officeDocument/2006/relationships/image" Target="../media/image6.emf" />
  <Relationship Id="rId4" Type="http://schemas.openxmlformats.org/officeDocument/2006/relationships/oleObject" Target="../embeddings/oleObject2.bin" />
</Relationships>
</file>

<file path=ppt/slideLayouts/_rels/slideLayout19.xml.rels>&#65279;<?xml version="1.0" encoding="UTF-8" standalone="yes"?>
<Relationships xmlns="http://schemas.openxmlformats.org/package/2006/relationships">
  <Relationship Id="rId1" Type="http://schemas.openxmlformats.org/officeDocument/2006/relationships/slideMaster" Target="../slideMasters/slideMaster2.xml" />
</Relationships>
</file>

<file path=ppt/slideLayouts/_rels/slideLayout2.xml.rels>&#65279;<?xml version="1.0" encoding="UTF-8" standalone="yes"?>
<Relationships xmlns="http://schemas.openxmlformats.org/package/2006/relationships">
  <Relationship Id="rId1" Type="http://schemas.openxmlformats.org/officeDocument/2006/relationships/slideMaster" Target="../slideMasters/slideMaster1.xml" />
</Relationships>
</file>

<file path=ppt/slideLayouts/_rels/slideLayout3.xml.rels>&#65279;<?xml version="1.0" encoding="UTF-8" standalone="yes"?>
<Relationships xmlns="http://schemas.openxmlformats.org/package/2006/relationships">
  <Relationship Id="rId1" Type="http://schemas.openxmlformats.org/officeDocument/2006/relationships/slideMaster" Target="../slideMasters/slideMaster1.xml" />
</Relationships>
</file>

<file path=ppt/slideLayouts/_rels/slideLayout4.xml.rels>&#65279;<?xml version="1.0" encoding="UTF-8" standalone="yes"?>
<Relationships xmlns="http://schemas.openxmlformats.org/package/2006/relationships">
  <Relationship Id="rId1" Type="http://schemas.openxmlformats.org/officeDocument/2006/relationships/slideMaster" Target="../slideMasters/slideMaster1.xml" />
</Relationships>
</file>

<file path=ppt/slideLayouts/_rels/slideLayout5.xml.rels>&#65279;<?xml version="1.0" encoding="UTF-8" standalone="yes"?>
<Relationships xmlns="http://schemas.openxmlformats.org/package/2006/relationships">
  <Relationship Id="rId1" Type="http://schemas.openxmlformats.org/officeDocument/2006/relationships/slideMaster" Target="../slideMasters/slideMaster1.xml" />
</Relationships>
</file>

<file path=ppt/slideLayouts/_rels/slideLayout6.xml.rels>&#65279;<?xml version="1.0" encoding="UTF-8" standalone="yes"?>
<Relationships xmlns="http://schemas.openxmlformats.org/package/2006/relationships">
  <Relationship Id="rId1" Type="http://schemas.openxmlformats.org/officeDocument/2006/relationships/slideMaster" Target="../slideMasters/slideMaster1.xml" />
</Relationships>
</file>

<file path=ppt/slideLayouts/_rels/slideLayout7.xml.rels>&#65279;<?xml version="1.0" encoding="UTF-8" standalone="yes"?>
<Relationships xmlns="http://schemas.openxmlformats.org/package/2006/relationships">
  <Relationship Id="rId1" Type="http://schemas.openxmlformats.org/officeDocument/2006/relationships/slideMaster" Target="../slideMasters/slideMaster1.xml" />
</Relationships>
</file>

<file path=ppt/slideLayouts/_rels/slideLayout8.xml.rels>&#65279;<?xml version="1.0" encoding="UTF-8" standalone="yes"?>
<Relationships xmlns="http://schemas.openxmlformats.org/package/2006/relationships">
  <Relationship Id="rId1" Type="http://schemas.openxmlformats.org/officeDocument/2006/relationships/slideMaster" Target="../slideMasters/slideMaster1.xml" />
</Relationships>
</file>

<file path=ppt/slideLayouts/_rels/slideLayout9.xml.rels>&#65279;<?xml version="1.0" encoding="UTF-8" standalone="yes"?>
<Relationships xmlns="http://schemas.openxmlformats.org/package/2006/relationships">
  <Relationship Id="rId1" Type="http://schemas.openxmlformats.org/officeDocument/2006/relationships/slideMaster" Target="../slideMasters/slideMaster1.xml" />
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6" descr="LB&amp;I Design3-4.jpg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-11113"/>
            <a:ext cx="9144000" cy="4554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15" descr="world-map-small_copy_light_copy2"/>
          <p:cNvPicPr>
            <a:picLocks noChangeAspect="1" noChangeArrowheads="1"/>
          </p:cNvPicPr>
          <p:nvPr/>
        </p:nvPicPr>
        <p:blipFill>
          <a:blip r:embed="rId3">
            <a:lum bright="6000" contrast="-6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0825" y="4271963"/>
            <a:ext cx="4395788" cy="2365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14" descr="lbi_wayfinding_blue final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7000" y="6089650"/>
            <a:ext cx="2079625" cy="641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8444" name="Rectangle 12"/>
          <p:cNvSpPr>
            <a:spLocks noGrp="1" noChangeArrowheads="1"/>
          </p:cNvSpPr>
          <p:nvPr>
            <p:ph type="ctrTitle" sz="quarter"/>
          </p:nvPr>
        </p:nvSpPr>
        <p:spPr>
          <a:xfrm>
            <a:off x="2043113" y="3895725"/>
            <a:ext cx="6878637" cy="949325"/>
          </a:xfrm>
        </p:spPr>
        <p:txBody>
          <a:bodyPr/>
          <a:lstStyle>
            <a:lvl1pPr>
              <a:defRPr sz="3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smtClean="0"/>
              <a:t>Click to edit Master title style</a:t>
            </a:r>
          </a:p>
        </p:txBody>
      </p:sp>
      <p:sp>
        <p:nvSpPr>
          <p:cNvPr id="18445" name="Rectangle 13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2508250" y="4902200"/>
            <a:ext cx="6400800" cy="750888"/>
          </a:xfrm>
        </p:spPr>
        <p:txBody>
          <a:bodyPr/>
          <a:lstStyle>
            <a:lvl1pPr marL="0" indent="0" algn="r">
              <a:buFont typeface="Wingdings" pitchFamily="2" charset="2"/>
              <a:buNone/>
              <a:defRPr sz="2400">
                <a:solidFill>
                  <a:srgbClr val="1C1C1C"/>
                </a:solidFill>
              </a:defRPr>
            </a:lvl1pPr>
          </a:lstStyle>
          <a:p>
            <a:pPr lvl="0"/>
            <a:r>
              <a:rPr lang="en-US" noProof="0" smtClean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6684632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B52A09B-855F-40DC-86C0-02C67450DB2C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4938021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742113" y="107950"/>
            <a:ext cx="1976437" cy="5816600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09625" y="107950"/>
            <a:ext cx="5780088" cy="5816600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A76F079-F42E-4B1B-A918-E6068B39706B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1047067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/>
          <p:cNvSpPr/>
          <p:nvPr userDrawn="1"/>
        </p:nvSpPr>
        <p:spPr>
          <a:xfrm>
            <a:off x="0" y="3"/>
            <a:ext cx="9144000" cy="118533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28" name="Picture Placeholder 27"/>
          <p:cNvSpPr>
            <a:spLocks noGrp="1"/>
          </p:cNvSpPr>
          <p:nvPr>
            <p:ph type="pic" sz="quarter" idx="11"/>
          </p:nvPr>
        </p:nvSpPr>
        <p:spPr>
          <a:xfrm>
            <a:off x="0" y="3"/>
            <a:ext cx="9144000" cy="4014787"/>
          </a:xfrm>
        </p:spPr>
        <p:txBody>
          <a:bodyPr/>
          <a:lstStyle>
            <a:lvl1pPr>
              <a:buClrTx/>
              <a:defRPr/>
            </a:lvl1pPr>
          </a:lstStyle>
          <a:p>
            <a:r>
              <a:rPr lang="en-US" dirty="0" smtClean="0"/>
              <a:t>Click icon to add picture</a:t>
            </a:r>
            <a:endParaRPr lang="en-US" dirty="0"/>
          </a:p>
        </p:txBody>
      </p:sp>
      <p:cxnSp>
        <p:nvCxnSpPr>
          <p:cNvPr id="7" name="Straight Connector 6"/>
          <p:cNvCxnSpPr/>
          <p:nvPr userDrawn="1"/>
        </p:nvCxnSpPr>
        <p:spPr>
          <a:xfrm rot="16200000">
            <a:off x="4572000" y="-526766"/>
            <a:ext cx="0" cy="9149627"/>
          </a:xfrm>
          <a:prstGeom prst="line">
            <a:avLst/>
          </a:prstGeom>
          <a:ln w="762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Rectangle 3"/>
          <p:cNvSpPr/>
          <p:nvPr userDrawn="1"/>
        </p:nvSpPr>
        <p:spPr>
          <a:xfrm>
            <a:off x="4425462" y="6688480"/>
            <a:ext cx="293077" cy="16129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 smtClean="0">
              <a:solidFill>
                <a:srgbClr val="FFFFFF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4473244" y="6487598"/>
            <a:ext cx="197513" cy="19781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 smtClean="0">
              <a:solidFill>
                <a:srgbClr val="FFFFFF"/>
              </a:solidFill>
            </a:endParaRPr>
          </a:p>
        </p:txBody>
      </p:sp>
      <p:sp>
        <p:nvSpPr>
          <p:cNvPr id="12" name="Title 1"/>
          <p:cNvSpPr>
            <a:spLocks noGrp="1"/>
          </p:cNvSpPr>
          <p:nvPr>
            <p:ph type="ctrTitle" hasCustomPrompt="1"/>
          </p:nvPr>
        </p:nvSpPr>
        <p:spPr>
          <a:xfrm>
            <a:off x="734833" y="4468661"/>
            <a:ext cx="7772400" cy="414528"/>
          </a:xfrm>
        </p:spPr>
        <p:txBody>
          <a:bodyPr lIns="0" tIns="0" rIns="0" bIns="0" anchor="ctr" anchorCtr="0"/>
          <a:lstStyle>
            <a:lvl1pPr algn="l">
              <a:defRPr baseline="0">
                <a:solidFill>
                  <a:schemeClr val="accent3"/>
                </a:solidFill>
              </a:defRPr>
            </a:lvl1pPr>
          </a:lstStyle>
          <a:p>
            <a:r>
              <a:rPr lang="en-US" dirty="0" smtClean="0"/>
              <a:t>Presentation Title (One line, 22 pt)</a:t>
            </a:r>
            <a:endParaRPr lang="en-US" dirty="0"/>
          </a:p>
        </p:txBody>
      </p:sp>
      <p:sp>
        <p:nvSpPr>
          <p:cNvPr id="1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734833" y="4908134"/>
            <a:ext cx="6400800" cy="406686"/>
          </a:xfrm>
        </p:spPr>
        <p:txBody>
          <a:bodyPr lIns="0" tIns="0" rIns="0" bIns="0" anchor="ctr">
            <a:noAutofit/>
          </a:bodyPr>
          <a:lstStyle>
            <a:lvl1pPr marL="0" indent="0" algn="l">
              <a:buNone/>
              <a:defRPr sz="1800" b="1" baseline="0">
                <a:solidFill>
                  <a:schemeClr val="tx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Presentation Subtitle (One line, 18 </a:t>
            </a:r>
            <a:r>
              <a:rPr lang="en-US" dirty="0" err="1" smtClean="0"/>
              <a:t>pt</a:t>
            </a:r>
            <a:r>
              <a:rPr lang="en-US" dirty="0" smtClean="0"/>
              <a:t>)</a:t>
            </a:r>
            <a:endParaRPr lang="en-US" dirty="0"/>
          </a:p>
        </p:txBody>
      </p:sp>
      <p:cxnSp>
        <p:nvCxnSpPr>
          <p:cNvPr id="14" name="Straight Connector 13"/>
          <p:cNvCxnSpPr/>
          <p:nvPr userDrawn="1"/>
        </p:nvCxnSpPr>
        <p:spPr>
          <a:xfrm>
            <a:off x="598037" y="4548853"/>
            <a:ext cx="0" cy="1033272"/>
          </a:xfrm>
          <a:prstGeom prst="line">
            <a:avLst/>
          </a:prstGeom>
          <a:ln w="762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 Placeholder 29"/>
          <p:cNvSpPr>
            <a:spLocks noGrp="1"/>
          </p:cNvSpPr>
          <p:nvPr>
            <p:ph type="body" sz="quarter" idx="12" hasCustomPrompt="1"/>
          </p:nvPr>
        </p:nvSpPr>
        <p:spPr>
          <a:xfrm>
            <a:off x="734834" y="5339765"/>
            <a:ext cx="4648285" cy="244602"/>
          </a:xfrm>
        </p:spPr>
        <p:txBody>
          <a:bodyPr lIns="0" tIns="0" rIns="0" bIns="0" anchor="ctr">
            <a:normAutofit/>
          </a:bodyPr>
          <a:lstStyle>
            <a:lvl1pPr marL="0" marR="0" indent="-225425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60000"/>
              <a:buFont typeface="Arial" pitchFamily="34" charset="0"/>
              <a:buNone/>
              <a:tabLst/>
              <a:defRPr lang="en-US" sz="1400" kern="1200" baseline="0" dirty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 marL="225425" marR="0" lvl="0" indent="-225425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60000"/>
              <a:buFont typeface="Arial" pitchFamily="34" charset="0"/>
              <a:buNone/>
              <a:tabLst/>
              <a:defRPr/>
            </a:pPr>
            <a:r>
              <a:rPr lang="en-US" dirty="0" smtClean="0"/>
              <a:t>Month Year—Location (One line, 14 </a:t>
            </a:r>
            <a:r>
              <a:rPr lang="en-US" dirty="0" err="1" smtClean="0"/>
              <a:t>pt</a:t>
            </a:r>
            <a:r>
              <a:rPr lang="en-US" dirty="0" smtClean="0"/>
              <a:t>)</a:t>
            </a:r>
          </a:p>
        </p:txBody>
      </p:sp>
      <p:sp>
        <p:nvSpPr>
          <p:cNvPr id="17" name="Rectangle 38"/>
          <p:cNvSpPr txBox="1">
            <a:spLocks noChangeArrowheads="1"/>
          </p:cNvSpPr>
          <p:nvPr userDrawn="1"/>
        </p:nvSpPr>
        <p:spPr bwMode="auto">
          <a:xfrm>
            <a:off x="741502" y="5766547"/>
            <a:ext cx="3330359" cy="12027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800" i="1" dirty="0" smtClean="0">
                <a:solidFill>
                  <a:srgbClr val="404040"/>
                </a:solidFill>
                <a:cs typeface="Arial"/>
              </a:rPr>
              <a:t>This document is confidential and is intended solely for the use and information of the Internal Revenue Service.</a:t>
            </a:r>
          </a:p>
        </p:txBody>
      </p:sp>
    </p:spTree>
    <p:extLst>
      <p:ext uri="{BB962C8B-B14F-4D97-AF65-F5344CB8AC3E}">
        <p14:creationId xmlns:p14="http://schemas.microsoft.com/office/powerpoint/2010/main" val="295982248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14"/>
          <p:cNvSpPr>
            <a:spLocks noGrp="1"/>
          </p:cNvSpPr>
          <p:nvPr>
            <p:ph type="pic" sz="quarter" idx="13"/>
          </p:nvPr>
        </p:nvSpPr>
        <p:spPr>
          <a:xfrm>
            <a:off x="0" y="5094383"/>
            <a:ext cx="9144000" cy="1216925"/>
          </a:xfrm>
        </p:spPr>
        <p:txBody>
          <a:bodyPr/>
          <a:lstStyle/>
          <a:p>
            <a:r>
              <a:rPr lang="en-US" dirty="0" smtClean="0"/>
              <a:t>Click icon to add picture</a:t>
            </a:r>
            <a:endParaRPr lang="en-US" dirty="0"/>
          </a:p>
        </p:txBody>
      </p:sp>
      <p:cxnSp>
        <p:nvCxnSpPr>
          <p:cNvPr id="18" name="Straight Connector 17"/>
          <p:cNvCxnSpPr/>
          <p:nvPr userDrawn="1"/>
        </p:nvCxnSpPr>
        <p:spPr>
          <a:xfrm>
            <a:off x="0" y="6348371"/>
            <a:ext cx="9144000" cy="0"/>
          </a:xfrm>
          <a:prstGeom prst="line">
            <a:avLst/>
          </a:prstGeom>
          <a:ln w="762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/>
          <p:cNvCxnSpPr/>
          <p:nvPr userDrawn="1"/>
        </p:nvCxnSpPr>
        <p:spPr>
          <a:xfrm>
            <a:off x="0" y="5057314"/>
            <a:ext cx="9144000" cy="0"/>
          </a:xfrm>
          <a:prstGeom prst="line">
            <a:avLst/>
          </a:prstGeom>
          <a:ln w="762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Rectangle 1"/>
          <p:cNvSpPr/>
          <p:nvPr userDrawn="1"/>
        </p:nvSpPr>
        <p:spPr>
          <a:xfrm>
            <a:off x="0" y="1"/>
            <a:ext cx="9144000" cy="25870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8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225083" y="475488"/>
            <a:ext cx="8693834" cy="93268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200" b="1" baseline="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Click to add header for content page (Up to two lines, 22 pt)</a:t>
            </a:r>
            <a:endParaRPr lang="en-US" dirty="0"/>
          </a:p>
        </p:txBody>
      </p:sp>
      <p:sp>
        <p:nvSpPr>
          <p:cNvPr id="13" name="Text Placeholder 23"/>
          <p:cNvSpPr>
            <a:spLocks noGrp="1"/>
          </p:cNvSpPr>
          <p:nvPr>
            <p:ph type="body" sz="quarter" idx="11" hasCustomPrompt="1"/>
          </p:nvPr>
        </p:nvSpPr>
        <p:spPr>
          <a:xfrm>
            <a:off x="225083" y="1719072"/>
            <a:ext cx="8693834" cy="3183850"/>
          </a:xfrm>
        </p:spPr>
        <p:txBody>
          <a:bodyPr>
            <a:noAutofit/>
          </a:bodyPr>
          <a:lstStyle>
            <a:lvl1pPr marL="225425" indent="-225425">
              <a:lnSpc>
                <a:spcPct val="100000"/>
              </a:lnSpc>
              <a:spcBef>
                <a:spcPts val="900"/>
              </a:spcBef>
              <a:spcAft>
                <a:spcPts val="600"/>
              </a:spcAft>
              <a:buClrTx/>
              <a:buSzPct val="100000"/>
              <a:buFont typeface="Wingdings" panose="05000000000000000000" pitchFamily="2" charset="2"/>
              <a:buChar char="§"/>
              <a:defRPr sz="1600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63550" indent="-238125">
              <a:buClr>
                <a:srgbClr val="0B1F65"/>
              </a:buClr>
              <a:buFont typeface="Symbol" pitchFamily="18" charset="2"/>
              <a:buChar char="-"/>
              <a:defRPr sz="1200">
                <a:latin typeface="Arial" pitchFamily="34" charset="0"/>
                <a:cs typeface="Arial" pitchFamily="34" charset="0"/>
              </a:defRPr>
            </a:lvl2pPr>
            <a:lvl3pPr marL="688975" indent="-225425">
              <a:buFont typeface="Wingdings" pitchFamily="2" charset="2"/>
              <a:buChar char="§"/>
              <a:defRPr sz="1200">
                <a:latin typeface="Arial" pitchFamily="34" charset="0"/>
                <a:cs typeface="Arial" pitchFamily="34" charset="0"/>
              </a:defRPr>
            </a:lvl3pPr>
          </a:lstStyle>
          <a:p>
            <a:pPr lvl="0"/>
            <a:r>
              <a:rPr lang="en-US" dirty="0" smtClean="0"/>
              <a:t>Section 1 (One line, 16 pts)</a:t>
            </a:r>
          </a:p>
          <a:p>
            <a:pPr lvl="0"/>
            <a:r>
              <a:rPr lang="en-US" dirty="0" smtClean="0"/>
              <a:t>Section 2 (One line, 16 pts)</a:t>
            </a:r>
          </a:p>
          <a:p>
            <a:pPr lvl="0"/>
            <a:r>
              <a:rPr lang="en-US" dirty="0" smtClean="0"/>
              <a:t>Section 3 (One line, 16 pts)</a:t>
            </a:r>
          </a:p>
          <a:p>
            <a:pPr lvl="0"/>
            <a:r>
              <a:rPr lang="en-US" dirty="0" smtClean="0"/>
              <a:t>Section 4 (One line, 16 pts)</a:t>
            </a:r>
          </a:p>
          <a:p>
            <a:pPr lvl="0"/>
            <a:r>
              <a:rPr lang="en-US" dirty="0" smtClean="0"/>
              <a:t>Section 5 (One line, 16 </a:t>
            </a:r>
            <a:r>
              <a:rPr lang="en-US" dirty="0" err="1" smtClean="0"/>
              <a:t>pts</a:t>
            </a:r>
            <a:r>
              <a:rPr lang="en-US" dirty="0" smtClean="0"/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422808252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14"/>
          <p:cNvSpPr>
            <a:spLocks noGrp="1"/>
          </p:cNvSpPr>
          <p:nvPr>
            <p:ph type="title"/>
          </p:nvPr>
        </p:nvSpPr>
        <p:spPr>
          <a:xfrm>
            <a:off x="225083" y="475491"/>
            <a:ext cx="8693834" cy="932135"/>
          </a:xfrm>
        </p:spPr>
        <p:txBody>
          <a:bodyPr lIns="0" tIns="0" rIns="0" bIns="0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7" name="Date Placeholder 8"/>
          <p:cNvSpPr>
            <a:spLocks noGrp="1"/>
          </p:cNvSpPr>
          <p:nvPr>
            <p:ph type="dt" sz="half" idx="2"/>
          </p:nvPr>
        </p:nvSpPr>
        <p:spPr>
          <a:xfrm>
            <a:off x="225083" y="6495877"/>
            <a:ext cx="2057400" cy="9615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8" name="Footer Placeholder 13"/>
          <p:cNvSpPr>
            <a:spLocks noGrp="1"/>
          </p:cNvSpPr>
          <p:nvPr>
            <p:ph type="ftr" sz="quarter" idx="3"/>
          </p:nvPr>
        </p:nvSpPr>
        <p:spPr>
          <a:xfrm>
            <a:off x="225084" y="6645948"/>
            <a:ext cx="3086100" cy="9615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7551991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5083" y="475491"/>
            <a:ext cx="8693834" cy="93213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25083" y="1721999"/>
            <a:ext cx="8693834" cy="4572000"/>
          </a:xfrm>
        </p:spPr>
        <p:txBody>
          <a:bodyPr/>
          <a:lstStyle>
            <a:lvl1pPr marL="225425" indent="-225425">
              <a:spcBef>
                <a:spcPts val="200"/>
              </a:spcBef>
              <a:spcAft>
                <a:spcPts val="200"/>
              </a:spcAft>
              <a:buFont typeface="Wingdings" panose="05000000000000000000" pitchFamily="2" charset="2"/>
              <a:buChar char="§"/>
              <a:defRPr/>
            </a:lvl1pPr>
            <a:lvl2pPr>
              <a:spcBef>
                <a:spcPts val="200"/>
              </a:spcBef>
              <a:spcAft>
                <a:spcPts val="200"/>
              </a:spcAft>
              <a:defRPr/>
            </a:lvl2pPr>
            <a:lvl3pPr>
              <a:spcBef>
                <a:spcPts val="200"/>
              </a:spcBef>
              <a:spcAft>
                <a:spcPts val="200"/>
              </a:spcAft>
              <a:defRPr/>
            </a:lvl3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</p:txBody>
      </p:sp>
      <p:sp>
        <p:nvSpPr>
          <p:cNvPr id="8" name="Date Placeholder 8"/>
          <p:cNvSpPr>
            <a:spLocks noGrp="1"/>
          </p:cNvSpPr>
          <p:nvPr>
            <p:ph type="dt" sz="half" idx="2"/>
          </p:nvPr>
        </p:nvSpPr>
        <p:spPr>
          <a:xfrm>
            <a:off x="225083" y="6495877"/>
            <a:ext cx="2057400" cy="9615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9" name="Footer Placeholder 13"/>
          <p:cNvSpPr>
            <a:spLocks noGrp="1"/>
          </p:cNvSpPr>
          <p:nvPr>
            <p:ph type="ftr" sz="quarter" idx="3"/>
          </p:nvPr>
        </p:nvSpPr>
        <p:spPr>
          <a:xfrm>
            <a:off x="225084" y="6645948"/>
            <a:ext cx="3086100" cy="9615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1983902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e Placeholder 8"/>
          <p:cNvSpPr>
            <a:spLocks noGrp="1"/>
          </p:cNvSpPr>
          <p:nvPr>
            <p:ph type="dt" sz="half" idx="2"/>
          </p:nvPr>
        </p:nvSpPr>
        <p:spPr>
          <a:xfrm>
            <a:off x="225083" y="6495877"/>
            <a:ext cx="2057400" cy="9615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8" name="Footer Placeholder 13"/>
          <p:cNvSpPr>
            <a:spLocks noGrp="1"/>
          </p:cNvSpPr>
          <p:nvPr>
            <p:ph type="ftr" sz="quarter" idx="3"/>
          </p:nvPr>
        </p:nvSpPr>
        <p:spPr>
          <a:xfrm>
            <a:off x="225084" y="6645948"/>
            <a:ext cx="3086100" cy="9615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1583313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413362" y="356616"/>
            <a:ext cx="8292230" cy="932688"/>
          </a:xfrm>
          <a:prstGeom prst="rect">
            <a:avLst/>
          </a:prstGeom>
        </p:spPr>
        <p:txBody>
          <a:bodyPr vert="horz" lIns="91440" tIns="45720" rIns="91440" bIns="45720" rtlCol="0" anchor="ctr" anchorCtr="0">
            <a:noAutofit/>
          </a:bodyPr>
          <a:lstStyle>
            <a:lvl1pPr>
              <a:defRPr sz="2200" b="1" baseline="0">
                <a:solidFill>
                  <a:schemeClr val="accent6"/>
                </a:solidFill>
              </a:defRPr>
            </a:lvl1pPr>
          </a:lstStyle>
          <a:p>
            <a:r>
              <a:rPr lang="en-US" dirty="0" smtClean="0"/>
              <a:t>Click to add header for content page (Up to two lines, 22 pt)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4195217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bl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467" y="1590"/>
          <a:ext cx="146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7" y="1590"/>
                        <a:ext cx="1466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1" cy="11430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able Placeholder 2"/>
          <p:cNvSpPr>
            <a:spLocks noGrp="1"/>
          </p:cNvSpPr>
          <p:nvPr>
            <p:ph type="tbl" idx="1"/>
          </p:nvPr>
        </p:nvSpPr>
        <p:spPr>
          <a:xfrm>
            <a:off x="457200" y="1600205"/>
            <a:ext cx="8229601" cy="4525963"/>
          </a:xfrm>
        </p:spPr>
        <p:txBody>
          <a:bodyPr rtlCol="0">
            <a:normAutofit/>
          </a:bodyPr>
          <a:lstStyle/>
          <a:p>
            <a:pPr lvl="0"/>
            <a:endParaRPr lang="en-US" noProof="0" dirty="0" smtClean="0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xfrm>
            <a:off x="457347" y="6245225"/>
            <a:ext cx="2132819" cy="476250"/>
          </a:xfrm>
        </p:spPr>
        <p:txBody>
          <a:bodyPr/>
          <a:lstStyle>
            <a:lvl1pPr>
              <a:defRPr smtClean="0">
                <a:latin typeface="Arial" charset="0"/>
              </a:defRPr>
            </a:lvl1pPr>
          </a:lstStyle>
          <a:p>
            <a:pPr>
              <a:defRPr/>
            </a:pPr>
            <a:endParaRPr lang="en-US" dirty="0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xfrm>
            <a:off x="3123736" y="6245225"/>
            <a:ext cx="2896529" cy="476250"/>
          </a:xfrm>
        </p:spPr>
        <p:txBody>
          <a:bodyPr/>
          <a:lstStyle>
            <a:lvl1pPr>
              <a:defRPr>
                <a:latin typeface="Arial" charset="0"/>
              </a:defRPr>
            </a:lvl1pPr>
          </a:lstStyle>
          <a:p>
            <a:pPr>
              <a:defRPr/>
            </a:pPr>
            <a:endParaRPr lang="en-US" dirty="0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7" name="Slide Number Placeholder 6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6553836" y="6245225"/>
            <a:ext cx="2132818" cy="47625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D8B74C1-80A3-4E86-8B2E-A316D14AF464}" type="slidenum">
              <a:rPr lang="en-US" alt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81690828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1058084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FA1DE70-EDC2-4F17-BE55-9B3D434B7C85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5915382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59FAD74-E29C-4055-BF18-C1EA8200F7DC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9551454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14388" y="1577975"/>
            <a:ext cx="3875087" cy="43465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841875" y="1577975"/>
            <a:ext cx="3876675" cy="43465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1DEF6FE-8BD8-462D-B5D7-51CC5867A115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0266813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8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8E390C5-6AFD-4198-AFB0-52ED54DF8D13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9390278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1AC1EDE-0821-4F80-A9B4-9507FF05ECE8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0780054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3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5CF80C8-78B6-4230-8D34-E637FD9ED6F5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8613738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23EB969-5704-4B19-88A5-D6CAB560D6BF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5253815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 dirty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D8DB75E-CFCA-4797-A0C4-F3D342D517A6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90271375"/>
      </p:ext>
    </p:extLst>
  </p:cSld>
  <p:clrMapOvr>
    <a:masterClrMapping/>
  </p:clrMapOvr>
</p:sldLayout>
</file>

<file path=ppt/slideMasters/_rels/slideMaster1.xml.rels>&#65279;<?xml version="1.0" encoding="UTF-8" standalone="yes"?>
<Relationships xmlns="http://schemas.openxmlformats.org/package/2006/relationships">
  <Relationship Id="rId8" Type="http://schemas.openxmlformats.org/officeDocument/2006/relationships/slideLayout" Target="../slideLayouts/slideLayout8.xml" />
  <Relationship Id="rId13" Type="http://schemas.openxmlformats.org/officeDocument/2006/relationships/image" Target="../media/image1.jpeg" />
  <Relationship Id="rId3" Type="http://schemas.openxmlformats.org/officeDocument/2006/relationships/slideLayout" Target="../slideLayouts/slideLayout3.xml" />
  <Relationship Id="rId7" Type="http://schemas.openxmlformats.org/officeDocument/2006/relationships/slideLayout" Target="../slideLayouts/slideLayout7.xml" />
  <Relationship Id="rId12" Type="http://schemas.openxmlformats.org/officeDocument/2006/relationships/theme" Target="../theme/theme1.xml" />
  <Relationship Id="rId2" Type="http://schemas.openxmlformats.org/officeDocument/2006/relationships/slideLayout" Target="../slideLayouts/slideLayout2.xml" />
  <Relationship Id="rId1" Type="http://schemas.openxmlformats.org/officeDocument/2006/relationships/slideLayout" Target="../slideLayouts/slideLayout1.xml" />
  <Relationship Id="rId6" Type="http://schemas.openxmlformats.org/officeDocument/2006/relationships/slideLayout" Target="../slideLayouts/slideLayout6.xml" />
  <Relationship Id="rId11" Type="http://schemas.openxmlformats.org/officeDocument/2006/relationships/slideLayout" Target="../slideLayouts/slideLayout11.xml" />
  <Relationship Id="rId5" Type="http://schemas.openxmlformats.org/officeDocument/2006/relationships/slideLayout" Target="../slideLayouts/slideLayout5.xml" />
  <Relationship Id="rId10" Type="http://schemas.openxmlformats.org/officeDocument/2006/relationships/slideLayout" Target="../slideLayouts/slideLayout10.xml" />
  <Relationship Id="rId4" Type="http://schemas.openxmlformats.org/officeDocument/2006/relationships/slideLayout" Target="../slideLayouts/slideLayout4.xml" />
  <Relationship Id="rId9" Type="http://schemas.openxmlformats.org/officeDocument/2006/relationships/slideLayout" Target="../slideLayouts/slideLayout9.xml" />
  <Relationship Id="rId14" Type="http://schemas.openxmlformats.org/officeDocument/2006/relationships/image" Target="../media/image2.png" />
</Relationships>
</file>

<file path=ppt/slideMasters/_rels/slideMaster2.xml.rels>&#65279;<?xml version="1.0" encoding="UTF-8" standalone="yes"?>
<Relationships xmlns="http://schemas.openxmlformats.org/package/2006/relationships">
  <Relationship Id="rId8" Type="http://schemas.openxmlformats.org/officeDocument/2006/relationships/slideLayout" Target="../slideLayouts/slideLayout19.xml" />
  <Relationship Id="rId13" Type="http://schemas.openxmlformats.org/officeDocument/2006/relationships/image" Target="../media/image5.emf" />
  <Relationship Id="rId3" Type="http://schemas.openxmlformats.org/officeDocument/2006/relationships/slideLayout" Target="../slideLayouts/slideLayout14.xml" />
  <Relationship Id="rId7" Type="http://schemas.openxmlformats.org/officeDocument/2006/relationships/slideLayout" Target="../slideLayouts/slideLayout18.xml" />
  <Relationship Id="rId12" Type="http://schemas.openxmlformats.org/officeDocument/2006/relationships/oleObject" Target="../embeddings/oleObject1.bin" />
  <Relationship Id="rId2" Type="http://schemas.openxmlformats.org/officeDocument/2006/relationships/slideLayout" Target="../slideLayouts/slideLayout13.xml" />
  <Relationship Id="rId1" Type="http://schemas.openxmlformats.org/officeDocument/2006/relationships/slideLayout" Target="../slideLayouts/slideLayout12.xml" />
  <Relationship Id="rId6" Type="http://schemas.openxmlformats.org/officeDocument/2006/relationships/slideLayout" Target="../slideLayouts/slideLayout17.xml" />
  <Relationship Id="rId11" Type="http://schemas.openxmlformats.org/officeDocument/2006/relationships/tags" Target="../tags/tag1.xml" />
  <Relationship Id="rId5" Type="http://schemas.openxmlformats.org/officeDocument/2006/relationships/slideLayout" Target="../slideLayouts/slideLayout16.xml" />
  <Relationship Id="rId10" Type="http://schemas.openxmlformats.org/officeDocument/2006/relationships/vmlDrawing" Target="../drawings/vmlDrawing1.vml" />
  <Relationship Id="rId4" Type="http://schemas.openxmlformats.org/officeDocument/2006/relationships/slideLayout" Target="../slideLayouts/slideLayout15.xml" />
  <Relationship Id="rId9" Type="http://schemas.openxmlformats.org/officeDocument/2006/relationships/theme" Target="../theme/theme2.xml" />
  <Relationship Id="rId14" Type="http://schemas.openxmlformats.org/officeDocument/2006/relationships/image" Target="../media/image2.png" />
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19" descr="masthead"/>
          <p:cNvPicPr>
            <a:picLocks noChangeAspect="1" noChangeArrowheads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1209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27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809625" y="107950"/>
            <a:ext cx="7904163" cy="9017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/>
              <a:t>Click to edit Master title style</a:t>
            </a:r>
          </a:p>
        </p:txBody>
      </p:sp>
      <p:sp>
        <p:nvSpPr>
          <p:cNvPr id="1028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814388" y="1577975"/>
            <a:ext cx="7904162" cy="43465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/>
              <a:t>Click to edit Master text styles</a:t>
            </a:r>
          </a:p>
          <a:p>
            <a:pPr lvl="1"/>
            <a:r>
              <a:rPr lang="en-US" altLang="en-US" smtClean="0"/>
              <a:t>Second level</a:t>
            </a:r>
          </a:p>
          <a:p>
            <a:pPr lvl="2"/>
            <a:r>
              <a:rPr lang="en-US" altLang="en-US" smtClean="0"/>
              <a:t>Third level</a:t>
            </a:r>
          </a:p>
        </p:txBody>
      </p:sp>
      <p:sp>
        <p:nvSpPr>
          <p:cNvPr id="17413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187700" y="6230938"/>
            <a:ext cx="3878263" cy="476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 eaLnBrk="0" hangingPunct="0">
              <a:defRPr sz="1600">
                <a:ea typeface="ＭＳ Ｐゴシック" charset="-128"/>
              </a:defRPr>
            </a:lvl1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17414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7680325" y="6232525"/>
            <a:ext cx="1006475" cy="476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 eaLnBrk="0" hangingPunct="0">
              <a:defRPr sz="1600" b="1">
                <a:ea typeface="ＭＳ Ｐゴシック" charset="-128"/>
              </a:defRPr>
            </a:lvl1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fld id="{39A0C371-3283-45BA-AE98-AD18D44BDBFC}" type="slidenum">
              <a:rPr lang="en-US">
                <a:solidFill>
                  <a:srgbClr val="000000"/>
                </a:solidFill>
              </a:rPr>
              <a:pPr defTabSz="457200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pic>
        <p:nvPicPr>
          <p:cNvPr id="1031" name="Picture 8" descr="lbi_wayfinding_blue final"/>
          <p:cNvPicPr>
            <a:picLocks noChangeAspect="1" noChangeArrowheads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7000" y="6089650"/>
            <a:ext cx="2079625" cy="641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64011097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hf sldNum="0" hdr="0" ftr="0" dt="0"/>
  <p:txStyles>
    <p:titleStyle>
      <a:lvl1pPr algn="r" rtl="0" eaLnBrk="0" fontAlgn="base" hangingPunct="0">
        <a:spcBef>
          <a:spcPct val="0"/>
        </a:spcBef>
        <a:spcAft>
          <a:spcPct val="0"/>
        </a:spcAft>
        <a:defRPr sz="3200">
          <a:solidFill>
            <a:schemeClr val="bg1"/>
          </a:solidFill>
          <a:latin typeface="+mj-lt"/>
          <a:ea typeface="+mj-ea"/>
          <a:cs typeface="+mj-cs"/>
        </a:defRPr>
      </a:lvl1pPr>
      <a:lvl2pPr algn="r" rtl="0" eaLnBrk="0" fontAlgn="base" hangingPunct="0">
        <a:spcBef>
          <a:spcPct val="0"/>
        </a:spcBef>
        <a:spcAft>
          <a:spcPct val="0"/>
        </a:spcAft>
        <a:defRPr sz="3200">
          <a:solidFill>
            <a:schemeClr val="bg1"/>
          </a:solidFill>
          <a:latin typeface="Arial" charset="0"/>
        </a:defRPr>
      </a:lvl2pPr>
      <a:lvl3pPr algn="r" rtl="0" eaLnBrk="0" fontAlgn="base" hangingPunct="0">
        <a:spcBef>
          <a:spcPct val="0"/>
        </a:spcBef>
        <a:spcAft>
          <a:spcPct val="0"/>
        </a:spcAft>
        <a:defRPr sz="3200">
          <a:solidFill>
            <a:schemeClr val="bg1"/>
          </a:solidFill>
          <a:latin typeface="Arial" charset="0"/>
        </a:defRPr>
      </a:lvl3pPr>
      <a:lvl4pPr algn="r" rtl="0" eaLnBrk="0" fontAlgn="base" hangingPunct="0">
        <a:spcBef>
          <a:spcPct val="0"/>
        </a:spcBef>
        <a:spcAft>
          <a:spcPct val="0"/>
        </a:spcAft>
        <a:defRPr sz="3200">
          <a:solidFill>
            <a:schemeClr val="bg1"/>
          </a:solidFill>
          <a:latin typeface="Arial" charset="0"/>
        </a:defRPr>
      </a:lvl4pPr>
      <a:lvl5pPr algn="r" rtl="0" eaLnBrk="0" fontAlgn="base" hangingPunct="0">
        <a:spcBef>
          <a:spcPct val="0"/>
        </a:spcBef>
        <a:spcAft>
          <a:spcPct val="0"/>
        </a:spcAft>
        <a:defRPr sz="3200">
          <a:solidFill>
            <a:schemeClr val="bg1"/>
          </a:solidFill>
          <a:latin typeface="Arial" charset="0"/>
        </a:defRPr>
      </a:lvl5pPr>
      <a:lvl6pPr marL="457200" algn="r" rtl="0" fontAlgn="base">
        <a:spcBef>
          <a:spcPct val="0"/>
        </a:spcBef>
        <a:spcAft>
          <a:spcPct val="0"/>
        </a:spcAft>
        <a:defRPr sz="3200">
          <a:solidFill>
            <a:schemeClr val="bg1"/>
          </a:solidFill>
          <a:latin typeface="Arial" charset="0"/>
        </a:defRPr>
      </a:lvl6pPr>
      <a:lvl7pPr marL="914400" algn="r" rtl="0" fontAlgn="base">
        <a:spcBef>
          <a:spcPct val="0"/>
        </a:spcBef>
        <a:spcAft>
          <a:spcPct val="0"/>
        </a:spcAft>
        <a:defRPr sz="3200">
          <a:solidFill>
            <a:schemeClr val="bg1"/>
          </a:solidFill>
          <a:latin typeface="Arial" charset="0"/>
        </a:defRPr>
      </a:lvl7pPr>
      <a:lvl8pPr marL="1371600" algn="r" rtl="0" fontAlgn="base">
        <a:spcBef>
          <a:spcPct val="0"/>
        </a:spcBef>
        <a:spcAft>
          <a:spcPct val="0"/>
        </a:spcAft>
        <a:defRPr sz="3200">
          <a:solidFill>
            <a:schemeClr val="bg1"/>
          </a:solidFill>
          <a:latin typeface="Arial" charset="0"/>
        </a:defRPr>
      </a:lvl8pPr>
      <a:lvl9pPr marL="1828800" algn="r" rtl="0" fontAlgn="base">
        <a:spcBef>
          <a:spcPct val="0"/>
        </a:spcBef>
        <a:spcAft>
          <a:spcPct val="0"/>
        </a:spcAft>
        <a:defRPr sz="3200">
          <a:solidFill>
            <a:schemeClr val="bg1"/>
          </a:solidFill>
          <a:latin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lr>
          <a:schemeClr val="accent2"/>
        </a:buClr>
        <a:buFont typeface="Wingdings" pitchFamily="2" charset="2"/>
        <a:buChar char="v"/>
        <a:defRPr sz="28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lr>
          <a:schemeClr val="accent2"/>
        </a:buClr>
        <a:buFont typeface="Wingdings" pitchFamily="2" charset="2"/>
        <a:buChar char="§"/>
        <a:defRPr sz="2400">
          <a:solidFill>
            <a:schemeClr val="tx1"/>
          </a:solidFill>
          <a:latin typeface="+mn-lt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lr>
          <a:schemeClr val="accent2"/>
        </a:buClr>
        <a:buChar char="•"/>
        <a:defRPr sz="2000">
          <a:solidFill>
            <a:schemeClr val="tx1"/>
          </a:solidFill>
          <a:latin typeface="+mn-lt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>
          <a:solidFill>
            <a:schemeClr val="tx1"/>
          </a:solidFill>
          <a:latin typeface="+mn-lt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>
          <a:solidFill>
            <a:schemeClr val="tx1"/>
          </a:solidFill>
          <a:latin typeface="+mn-lt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>
          <a:solidFill>
            <a:schemeClr val="tx1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993315154"/>
              </p:ext>
            </p:extLst>
          </p:nvPr>
        </p:nvGraphicFramePr>
        <p:xfrm>
          <a:off x="1467" y="1591"/>
          <a:ext cx="146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3" name="think-cell Slide" r:id="rId12" imgW="270" imgH="270" progId="TCLayout.ActiveDocument.1">
                  <p:embed/>
                </p:oleObj>
              </mc:Choice>
              <mc:Fallback>
                <p:oleObj name="think-cell Slide" r:id="rId1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467" y="1591"/>
                        <a:ext cx="1465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/>
        </p:nvSpPr>
        <p:spPr>
          <a:xfrm>
            <a:off x="4314936" y="6495880"/>
            <a:ext cx="514131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fld id="{9E014B80-1094-614D-82C4-FC9C7ECF587A}" type="slidenum">
              <a:rPr lang="en-US" sz="1000" smtClean="0">
                <a:solidFill>
                  <a:srgbClr val="808080"/>
                </a:solidFill>
              </a:rPr>
              <a:pPr algn="ctr"/>
              <a:t>‹#›</a:t>
            </a:fld>
            <a:endParaRPr lang="en-US" sz="1000" dirty="0">
              <a:solidFill>
                <a:srgbClr val="808080"/>
              </a:solidFill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25083" y="475491"/>
            <a:ext cx="8693834" cy="93213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25083" y="1722000"/>
            <a:ext cx="8693834" cy="457200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 dirty="0" smtClean="0"/>
              <a:t>Click to add text</a:t>
            </a:r>
          </a:p>
          <a:p>
            <a:pPr lvl="1"/>
            <a:r>
              <a:rPr lang="en-US" dirty="0" smtClean="0"/>
              <a:t>Second level</a:t>
            </a:r>
          </a:p>
        </p:txBody>
      </p:sp>
      <p:cxnSp>
        <p:nvCxnSpPr>
          <p:cNvPr id="11" name="Straight Connector 10"/>
          <p:cNvCxnSpPr/>
          <p:nvPr/>
        </p:nvCxnSpPr>
        <p:spPr>
          <a:xfrm>
            <a:off x="0" y="161110"/>
            <a:ext cx="9144000" cy="0"/>
          </a:xfrm>
          <a:prstGeom prst="line">
            <a:avLst/>
          </a:prstGeom>
          <a:ln w="762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Date Placeholder 8"/>
          <p:cNvSpPr>
            <a:spLocks noGrp="1"/>
          </p:cNvSpPr>
          <p:nvPr>
            <p:ph type="dt" sz="half" idx="2"/>
          </p:nvPr>
        </p:nvSpPr>
        <p:spPr>
          <a:xfrm>
            <a:off x="225083" y="6495877"/>
            <a:ext cx="2057400" cy="9615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14" name="Footer Placeholder 13"/>
          <p:cNvSpPr>
            <a:spLocks noGrp="1"/>
          </p:cNvSpPr>
          <p:nvPr>
            <p:ph type="ftr" sz="quarter" idx="3"/>
          </p:nvPr>
        </p:nvSpPr>
        <p:spPr>
          <a:xfrm>
            <a:off x="225084" y="6645948"/>
            <a:ext cx="3086100" cy="9615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10" name="TextBox 9"/>
          <p:cNvSpPr txBox="1"/>
          <p:nvPr userDrawn="1"/>
        </p:nvSpPr>
        <p:spPr bwMode="gray">
          <a:xfrm>
            <a:off x="7731541" y="-69249"/>
            <a:ext cx="1412459" cy="2769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0" tIns="0" rIns="0" bIns="0" rtlCol="0" anchor="ctr" anchorCtr="1">
            <a:spAutoFit/>
          </a:bodyPr>
          <a:lstStyle/>
          <a:p>
            <a:pPr algn="just"/>
            <a:r>
              <a:rPr lang="en-US" sz="900" b="1" dirty="0" smtClean="0">
                <a:solidFill>
                  <a:srgbClr val="C00000"/>
                </a:solidFill>
              </a:rPr>
              <a:t>DRAFT – FOR DISCUSSION</a:t>
            </a:r>
          </a:p>
        </p:txBody>
      </p:sp>
      <p:pic>
        <p:nvPicPr>
          <p:cNvPr id="12" name="Picture 8" descr="lbi_wayfinding_blue final"/>
          <p:cNvPicPr>
            <a:picLocks noChangeAspect="1" noChangeArrowheads="1"/>
          </p:cNvPicPr>
          <p:nvPr userDrawn="1"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48644" y="6460499"/>
            <a:ext cx="978253" cy="3268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59048745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5" r:id="rId1"/>
    <p:sldLayoutId id="2147483676" r:id="rId2"/>
    <p:sldLayoutId id="2147483677" r:id="rId3"/>
    <p:sldLayoutId id="2147483678" r:id="rId4"/>
    <p:sldLayoutId id="2147483679" r:id="rId5"/>
    <p:sldLayoutId id="2147483680" r:id="rId6"/>
    <p:sldLayoutId id="2147483681" r:id="rId7"/>
    <p:sldLayoutId id="2147483682" r:id="rId8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l" defTabSz="914400" rtl="0" eaLnBrk="1" latinLnBrk="0" hangingPunct="1">
        <a:spcBef>
          <a:spcPct val="0"/>
        </a:spcBef>
        <a:buNone/>
        <a:defRPr sz="2200" b="1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228600" indent="-165100" algn="l" defTabSz="914400" rtl="0" eaLnBrk="1" latinLnBrk="0" hangingPunct="1">
        <a:spcBef>
          <a:spcPts val="200"/>
        </a:spcBef>
        <a:spcAft>
          <a:spcPts val="200"/>
        </a:spcAft>
        <a:buClrTx/>
        <a:buSzPct val="100000"/>
        <a:buFont typeface="Wingdings" panose="05000000000000000000" pitchFamily="2" charset="2"/>
        <a:buChar char="§"/>
        <a:defRPr sz="1600" kern="1200" baseline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457200" indent="-177800" algn="l" defTabSz="914400" rtl="0" eaLnBrk="1" latinLnBrk="0" hangingPunct="1">
        <a:spcBef>
          <a:spcPts val="200"/>
        </a:spcBef>
        <a:spcAft>
          <a:spcPts val="200"/>
        </a:spcAft>
        <a:buClrTx/>
        <a:buSzPct val="100000"/>
        <a:buFont typeface="Arial" panose="020B0604020202020204" pitchFamily="34" charset="0"/>
        <a:buChar char="−"/>
        <a:tabLst/>
        <a:defRPr sz="1600" kern="1200" baseline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796925" indent="-225425" algn="l" defTabSz="1143000" rtl="0" eaLnBrk="1" latinLnBrk="0" hangingPunct="1">
        <a:spcBef>
          <a:spcPts val="200"/>
        </a:spcBef>
        <a:spcAft>
          <a:spcPts val="200"/>
        </a:spcAft>
        <a:buClrTx/>
        <a:buSzPct val="100000"/>
        <a:buFont typeface="Wingdings" panose="05000000000000000000" pitchFamily="2" charset="2"/>
        <a:buChar char="§"/>
        <a:defRPr sz="1600" kern="1200" baseline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435100" indent="-225425" algn="l" defTabSz="914400" rtl="0" eaLnBrk="1" latinLnBrk="0" hangingPunct="1">
        <a:spcBef>
          <a:spcPct val="20000"/>
        </a:spcBef>
        <a:buClr>
          <a:schemeClr val="tx2"/>
        </a:buClr>
        <a:buSzPct val="100000"/>
        <a:buFont typeface="Arial" pitchFamily="34" charset="0"/>
        <a:buChar char="–"/>
        <a:defRPr lang="en-US" sz="1800" kern="1200" dirty="0" smtClean="0">
          <a:solidFill>
            <a:schemeClr val="accent6"/>
          </a:solidFill>
          <a:latin typeface="Arial" pitchFamily="34" charset="0"/>
          <a:ea typeface="+mn-ea"/>
          <a:cs typeface="Arial" pitchFamily="34" charset="0"/>
        </a:defRPr>
      </a:lvl4pPr>
      <a:lvl5pPr marL="2057400" indent="-228600" algn="l" defTabSz="914400" rtl="0" eaLnBrk="1" latinLnBrk="0" hangingPunct="1">
        <a:spcBef>
          <a:spcPct val="20000"/>
        </a:spcBef>
        <a:buSzPct val="60000"/>
        <a:buFont typeface="Arial" pitchFamily="34" charset="0"/>
        <a:buChar char="►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&#65279;<?xml version="1.0" encoding="UTF-8" standalone="yes"?>
<Relationships xmlns="http://schemas.openxmlformats.org/package/2006/relationships">
  <Relationship Id="rId3" Type="http://schemas.openxmlformats.org/officeDocument/2006/relationships/image" Target="../media/image7.jpg" />
  <Relationship Id="rId2" Type="http://schemas.openxmlformats.org/officeDocument/2006/relationships/notesSlide" Target="../notesSlides/notesSlide1.xml" />
  <Relationship Id="rId1" Type="http://schemas.openxmlformats.org/officeDocument/2006/relationships/slideLayout" Target="../slideLayouts/slideLayout12.xml" />
</Relationships>
</file>

<file path=ppt/slides/_rels/slide10.xml.rels>&#65279;<?xml version="1.0" encoding="UTF-8" standalone="yes"?>
<Relationships xmlns="http://schemas.openxmlformats.org/package/2006/relationships">
  <Relationship Id="rId2" Type="http://schemas.openxmlformats.org/officeDocument/2006/relationships/notesSlide" Target="../notesSlides/notesSlide10.xml" />
  <Relationship Id="rId1" Type="http://schemas.openxmlformats.org/officeDocument/2006/relationships/slideLayout" Target="../slideLayouts/slideLayout2.xml" />
</Relationships>
</file>

<file path=ppt/slides/_rels/slide11.xml.rels>&#65279;<?xml version="1.0" encoding="UTF-8" standalone="yes"?>
<Relationships xmlns="http://schemas.openxmlformats.org/package/2006/relationships">
  <Relationship Id="rId3" Type="http://schemas.openxmlformats.org/officeDocument/2006/relationships/image" Target="../media/image9.emf" />
  <Relationship Id="rId7" Type="http://schemas.openxmlformats.org/officeDocument/2006/relationships/image" Target="../media/image13.emf" />
  <Relationship Id="rId2" Type="http://schemas.openxmlformats.org/officeDocument/2006/relationships/notesSlide" Target="../notesSlides/notesSlide11.xml" />
  <Relationship Id="rId1" Type="http://schemas.openxmlformats.org/officeDocument/2006/relationships/slideLayout" Target="../slideLayouts/slideLayout2.xml" />
  <Relationship Id="rId6" Type="http://schemas.openxmlformats.org/officeDocument/2006/relationships/image" Target="../media/image12.emf" />
  <Relationship Id="rId5" Type="http://schemas.openxmlformats.org/officeDocument/2006/relationships/image" Target="../media/image11.emf" />
  <Relationship Id="rId4" Type="http://schemas.openxmlformats.org/officeDocument/2006/relationships/image" Target="../media/image10.emf" />
</Relationships>
</file>

<file path=ppt/slides/_rels/slide12.xml.rels>&#65279;<?xml version="1.0" encoding="UTF-8" standalone="yes"?>
<Relationships xmlns="http://schemas.openxmlformats.org/package/2006/relationships">
  <Relationship Id="rId3" Type="http://schemas.openxmlformats.org/officeDocument/2006/relationships/image" Target="../media/image14.emf" />
  <Relationship Id="rId2" Type="http://schemas.openxmlformats.org/officeDocument/2006/relationships/notesSlide" Target="../notesSlides/notesSlide12.xml" />
  <Relationship Id="rId1" Type="http://schemas.openxmlformats.org/officeDocument/2006/relationships/slideLayout" Target="../slideLayouts/slideLayout2.xml" />
  <Relationship Id="rId6" Type="http://schemas.openxmlformats.org/officeDocument/2006/relationships/image" Target="../media/image17.emf" />
  <Relationship Id="rId5" Type="http://schemas.openxmlformats.org/officeDocument/2006/relationships/image" Target="../media/image16.emf" />
  <Relationship Id="rId4" Type="http://schemas.openxmlformats.org/officeDocument/2006/relationships/image" Target="../media/image15.emf" />
</Relationships>
</file>

<file path=ppt/slides/_rels/slide13.xml.rels>&#65279;<?xml version="1.0" encoding="UTF-8" standalone="yes"?>
<Relationships xmlns="http://schemas.openxmlformats.org/package/2006/relationships">
  <Relationship Id="rId8" Type="http://schemas.openxmlformats.org/officeDocument/2006/relationships/hyperlink" Target="http://lmsb.irs.gov/industries/nr/WhoWeAre/NRCManagersPersonnel.asp" TargetMode="External" />
  <Relationship Id="rId13" Type="http://schemas.openxmlformats.org/officeDocument/2006/relationships/hyperlink" Target="http://lmsb.irs.gov/industries/ctm/Who/Contact/CTMOrgChart.htm" TargetMode="External" />
  <Relationship Id="rId3" Type="http://schemas.openxmlformats.org/officeDocument/2006/relationships/notesSlide" Target="../notesSlides/notesSlide13.xml" />
  <Relationship Id="rId7" Type="http://schemas.openxmlformats.org/officeDocument/2006/relationships/hyperlink" Target="http://lmsb.irs.gov/industries/ctm/Who/Contact/CTMOrgChart.xls" TargetMode="External" />
  <Relationship Id="rId12" Type="http://schemas.openxmlformats.org/officeDocument/2006/relationships/hyperlink" Target="http://lmsb.irs.gov/industries/rfhttp:/lmsb.irs.gov/industries/rfp/WhoWeAre/Organizational%20Chart%20%20DFO%20West%20-%20RFPH.xlsp/WhoWeAre/Organizational%20Chart%20-%20DFO%20East-%20RFPH.xls" TargetMode="External" />
  <Relationship Id="rId2" Type="http://schemas.openxmlformats.org/officeDocument/2006/relationships/slideLayout" Target="../slideLayouts/slideLayout2.xml" />
  <Relationship Id="rId16" Type="http://schemas.openxmlformats.org/officeDocument/2006/relationships/image" Target="../media/image19.png" />
  <Relationship Id="rId1" Type="http://schemas.openxmlformats.org/officeDocument/2006/relationships/vmlDrawing" Target="../drawings/vmlDrawing3.vml" />
  <Relationship Id="rId6" Type="http://schemas.openxmlformats.org/officeDocument/2006/relationships/image" Target="../media/image18.emf" />
  <Relationship Id="rId11" Type="http://schemas.openxmlformats.org/officeDocument/2006/relationships/hyperlink" Target="http://lmsb.irs.gov/industries/rfp/WhoWeAre/Organizational%20Chart%20-%20DFO%20East-%20RFPH.xls" TargetMode="External" />
  <Relationship Id="rId5" Type="http://schemas.openxmlformats.org/officeDocument/2006/relationships/package" Target="../embeddings/Microsoft_Excel_Worksheet1.xlsx" />
  <Relationship Id="rId15" Type="http://schemas.openxmlformats.org/officeDocument/2006/relationships/hyperlink" Target="http://lmsb.irs.gov/industries/fsh/org/Fin%20Svcs%20Directory%20-%204.28.06.xls" TargetMode="External" />
  <Relationship Id="rId10" Type="http://schemas.openxmlformats.org/officeDocument/2006/relationships/hyperlink" Target="http://lmsb.irs.gov/industries/mct/WhoWeAre/OrgCharts/DFO-WESTchart(revOCTOBER2006).doc" TargetMode="External" />
  <Relationship Id="rId4" Type="http://schemas.openxmlformats.org/officeDocument/2006/relationships/oleObject" Target="../embeddings/oleObject3.bin" />
  <Relationship Id="rId9" Type="http://schemas.openxmlformats.org/officeDocument/2006/relationships/hyperlink" Target="http://lmsb.irs.gov/industries/rfp/WhoWeAre/Organizational%20Chart%20%20DFO%20West%20-%20RFPH.xls" TargetMode="External" />
  <Relationship Id="rId14" Type="http://schemas.openxmlformats.org/officeDocument/2006/relationships/hyperlink" Target="http://lmsb.irs.gov/industries/mct/WhoWeAre/OrgCharts/DFO-EASTchart(rev.OCTOBER2006).doc" TargetMode="External" />
</Relationships>
</file>

<file path=ppt/slides/_rels/slide14.xml.rels>&#65279;<?xml version="1.0" encoding="UTF-8" standalone="yes"?>
<Relationships xmlns="http://schemas.openxmlformats.org/package/2006/relationships">
  <Relationship Id="rId2" Type="http://schemas.openxmlformats.org/officeDocument/2006/relationships/notesSlide" Target="../notesSlides/notesSlide14.xml" />
  <Relationship Id="rId1" Type="http://schemas.openxmlformats.org/officeDocument/2006/relationships/slideLayout" Target="../slideLayouts/slideLayout2.xml" />
</Relationships>
</file>

<file path=ppt/slides/_rels/slide2.xml.rels>&#65279;<?xml version="1.0" encoding="UTF-8" standalone="yes"?>
<Relationships xmlns="http://schemas.openxmlformats.org/package/2006/relationships">
  <Relationship Id="rId2" Type="http://schemas.openxmlformats.org/officeDocument/2006/relationships/notesSlide" Target="../notesSlides/notesSlide2.xml" />
  <Relationship Id="rId1" Type="http://schemas.openxmlformats.org/officeDocument/2006/relationships/slideLayout" Target="../slideLayouts/slideLayout2.xml" />
</Relationships>
</file>

<file path=ppt/slides/_rels/slide3.xml.rels>&#65279;<?xml version="1.0" encoding="UTF-8" standalone="yes"?>
<Relationships xmlns="http://schemas.openxmlformats.org/package/2006/relationships">
  <Relationship Id="rId2" Type="http://schemas.openxmlformats.org/officeDocument/2006/relationships/notesSlide" Target="../notesSlides/notesSlide3.xml" />
  <Relationship Id="rId1" Type="http://schemas.openxmlformats.org/officeDocument/2006/relationships/slideLayout" Target="../slideLayouts/slideLayout6.xml" />
</Relationships>
</file>

<file path=ppt/slides/_rels/slide4.xml.rels>&#65279;<?xml version="1.0" encoding="UTF-8" standalone="yes"?>
<Relationships xmlns="http://schemas.openxmlformats.org/package/2006/relationships">
  <Relationship Id="rId2" Type="http://schemas.openxmlformats.org/officeDocument/2006/relationships/notesSlide" Target="../notesSlides/notesSlide4.xml" />
  <Relationship Id="rId1" Type="http://schemas.openxmlformats.org/officeDocument/2006/relationships/slideLayout" Target="../slideLayouts/slideLayout2.xml" />
</Relationships>
</file>

<file path=ppt/slides/_rels/slide5.xml.rels>&#65279;<?xml version="1.0" encoding="UTF-8" standalone="yes"?>
<Relationships xmlns="http://schemas.openxmlformats.org/package/2006/relationships">
  <Relationship Id="rId2" Type="http://schemas.openxmlformats.org/officeDocument/2006/relationships/notesSlide" Target="../notesSlides/notesSlide5.xml" />
  <Relationship Id="rId1" Type="http://schemas.openxmlformats.org/officeDocument/2006/relationships/slideLayout" Target="../slideLayouts/slideLayout2.xml" />
</Relationships>
</file>

<file path=ppt/slides/_rels/slide6.xml.rels>&#65279;<?xml version="1.0" encoding="UTF-8" standalone="yes"?>
<Relationships xmlns="http://schemas.openxmlformats.org/package/2006/relationships">
  <Relationship Id="rId2" Type="http://schemas.openxmlformats.org/officeDocument/2006/relationships/notesSlide" Target="../notesSlides/notesSlide6.xml" />
  <Relationship Id="rId1" Type="http://schemas.openxmlformats.org/officeDocument/2006/relationships/slideLayout" Target="../slideLayouts/slideLayout2.xml" />
</Relationships>
</file>

<file path=ppt/slides/_rels/slide7.xml.rels>&#65279;<?xml version="1.0" encoding="UTF-8" standalone="yes"?>
<Relationships xmlns="http://schemas.openxmlformats.org/package/2006/relationships">
  <Relationship Id="rId2" Type="http://schemas.openxmlformats.org/officeDocument/2006/relationships/notesSlide" Target="../notesSlides/notesSlide7.xml" />
  <Relationship Id="rId1" Type="http://schemas.openxmlformats.org/officeDocument/2006/relationships/slideLayout" Target="../slideLayouts/slideLayout6.xml" />
</Relationships>
</file>

<file path=ppt/slides/_rels/slide8.xml.rels>&#65279;<?xml version="1.0" encoding="UTF-8" standalone="yes"?>
<Relationships xmlns="http://schemas.openxmlformats.org/package/2006/relationships">
  <Relationship Id="rId2" Type="http://schemas.openxmlformats.org/officeDocument/2006/relationships/notesSlide" Target="../notesSlides/notesSlide8.xml" />
  <Relationship Id="rId1" Type="http://schemas.openxmlformats.org/officeDocument/2006/relationships/slideLayout" Target="../slideLayouts/slideLayout2.xml" />
</Relationships>
</file>

<file path=ppt/slides/_rels/slide9.xml.rels>&#65279;<?xml version="1.0" encoding="UTF-8" standalone="yes"?>
<Relationships xmlns="http://schemas.openxmlformats.org/package/2006/relationships">
  <Relationship Id="rId3" Type="http://schemas.openxmlformats.org/officeDocument/2006/relationships/image" Target="../media/image8.emf" />
  <Relationship Id="rId2" Type="http://schemas.openxmlformats.org/officeDocument/2006/relationships/notesSlide" Target="../notesSlides/notesSlide9.xml" />
  <Relationship Id="rId1" Type="http://schemas.openxmlformats.org/officeDocument/2006/relationships/slideLayout" Target="../slideLayouts/slideLayout2.xml" />
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Title 27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smtClean="0">
                <a:solidFill>
                  <a:schemeClr val="tx2"/>
                </a:solidFill>
              </a:rPr>
              <a:t>IRS Large Business &amp; International Division (LB&amp;I)</a:t>
            </a:r>
            <a:endParaRPr lang="en-US" dirty="0">
              <a:solidFill>
                <a:schemeClr val="tx2"/>
              </a:solidFill>
            </a:endParaRPr>
          </a:p>
        </p:txBody>
      </p:sp>
      <p:sp>
        <p:nvSpPr>
          <p:cNvPr id="29" name="Subtitle 28"/>
          <p:cNvSpPr>
            <a:spLocks noGrp="1"/>
          </p:cNvSpPr>
          <p:nvPr>
            <p:ph type="subTitle" idx="1"/>
          </p:nvPr>
        </p:nvSpPr>
        <p:spPr>
          <a:xfrm>
            <a:off x="734832" y="4908134"/>
            <a:ext cx="8050821" cy="406686"/>
          </a:xfrm>
        </p:spPr>
        <p:txBody>
          <a:bodyPr/>
          <a:lstStyle/>
          <a:p>
            <a:r>
              <a:rPr lang="en-US" sz="2000" dirty="0" smtClean="0">
                <a:solidFill>
                  <a:srgbClr val="0000FF"/>
                </a:solidFill>
              </a:rPr>
              <a:t> Visuals for Structure Rollout to Externals</a:t>
            </a:r>
            <a:endParaRPr lang="en-US" sz="2000" dirty="0">
              <a:solidFill>
                <a:srgbClr val="0000FF"/>
              </a:solidFill>
            </a:endParaRPr>
          </a:p>
        </p:txBody>
      </p:sp>
      <p:sp>
        <p:nvSpPr>
          <p:cNvPr id="30" name="Text Placeholder 29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 smtClean="0"/>
              <a:t>September 18, 2015</a:t>
            </a:r>
            <a:endParaRPr lang="en-US" dirty="0"/>
          </a:p>
        </p:txBody>
      </p:sp>
      <p:pic>
        <p:nvPicPr>
          <p:cNvPr id="3" name="Picture Placeholder 2"/>
          <p:cNvPicPr>
            <a:picLocks noGrp="1" noChangeAspect="1"/>
          </p:cNvPicPr>
          <p:nvPr>
            <p:ph type="pic" sz="quarter" idx="11"/>
          </p:nvPr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1" b="31"/>
          <a:stretch/>
        </p:blipFill>
        <p:spPr/>
      </p:pic>
    </p:spTree>
    <p:extLst>
      <p:ext uri="{BB962C8B-B14F-4D97-AF65-F5344CB8AC3E}">
        <p14:creationId xmlns:p14="http://schemas.microsoft.com/office/powerpoint/2010/main" val="14491161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Content Placeholder 1"/>
          <p:cNvSpPr>
            <a:spLocks noGrp="1"/>
          </p:cNvSpPr>
          <p:nvPr>
            <p:ph idx="1"/>
          </p:nvPr>
        </p:nvSpPr>
        <p:spPr>
          <a:xfrm>
            <a:off x="457200" y="1489167"/>
            <a:ext cx="8229600" cy="4503860"/>
          </a:xfrm>
        </p:spPr>
        <p:txBody>
          <a:bodyPr/>
          <a:lstStyle/>
          <a:p>
            <a:r>
              <a:rPr lang="en-US" altLang="en-US" dirty="0" smtClean="0"/>
              <a:t>LB&amp;I will be organized by Practice Areas.</a:t>
            </a:r>
          </a:p>
          <a:p>
            <a:r>
              <a:rPr lang="en-US" altLang="en-US" dirty="0" smtClean="0"/>
              <a:t>A </a:t>
            </a:r>
            <a:r>
              <a:rPr lang="en-US" altLang="en-US" dirty="0"/>
              <a:t>Practice Area is a group of employees organized together to focus on one or more areas of expertise.</a:t>
            </a:r>
          </a:p>
          <a:p>
            <a:r>
              <a:rPr lang="en-US" altLang="en-US" dirty="0" smtClean="0"/>
              <a:t>Each Practice Area (along with other activities) will study compliance issues within their area of expertise and suggest campaigns to be included in the compliance plan.  </a:t>
            </a:r>
          </a:p>
          <a:p>
            <a:pPr marL="0" indent="0">
              <a:buNone/>
            </a:pPr>
            <a:endParaRPr lang="en-US" altLang="en-US" dirty="0" smtClean="0"/>
          </a:p>
          <a:p>
            <a:endParaRPr lang="en-US" altLang="en-US" sz="2400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F958F9E0-8A88-4A30-96E1-F10E7C7D07E9}" type="slidenum">
              <a:rPr lang="en-US" smtClean="0">
                <a:solidFill>
                  <a:srgbClr val="000000"/>
                </a:solidFill>
              </a:rPr>
              <a:pPr>
                <a:defRPr/>
              </a:pPr>
              <a:t>10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9220" name="Title 2"/>
          <p:cNvSpPr>
            <a:spLocks noGrp="1"/>
          </p:cNvSpPr>
          <p:nvPr>
            <p:ph type="title"/>
          </p:nvPr>
        </p:nvSpPr>
        <p:spPr>
          <a:xfrm>
            <a:off x="152400" y="264341"/>
            <a:ext cx="8991600" cy="639762"/>
          </a:xfrm>
        </p:spPr>
        <p:txBody>
          <a:bodyPr/>
          <a:lstStyle/>
          <a:p>
            <a:pPr algn="ctr"/>
            <a:r>
              <a:rPr lang="en-US" altLang="en-US" sz="3600" dirty="0" smtClean="0"/>
              <a:t>The Practice Area Approach</a:t>
            </a:r>
          </a:p>
        </p:txBody>
      </p:sp>
    </p:spTree>
    <p:extLst>
      <p:ext uri="{BB962C8B-B14F-4D97-AF65-F5344CB8AC3E}">
        <p14:creationId xmlns:p14="http://schemas.microsoft.com/office/powerpoint/2010/main" val="26873940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>
          <a:xfrm>
            <a:off x="0" y="5894173"/>
            <a:ext cx="2582562" cy="96382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dirty="0" smtClean="0"/>
              <a:t>Practice Areas</a:t>
            </a:r>
            <a:endParaRPr lang="en-US" dirty="0"/>
          </a:p>
        </p:txBody>
      </p:sp>
      <p:pic>
        <p:nvPicPr>
          <p:cNvPr id="5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270" y="1174890"/>
            <a:ext cx="1732322" cy="30408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5122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48370" y="1185435"/>
            <a:ext cx="1734160" cy="56725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5123" name="Picture 3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32881" y="1185435"/>
            <a:ext cx="1833949" cy="34521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5124" name="Picture 4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03910" y="1197792"/>
            <a:ext cx="1786581" cy="352061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5125" name="Picture 5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97698" y="1197792"/>
            <a:ext cx="1747452" cy="566020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1054053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dirty="0" smtClean="0"/>
              <a:t>Compliance Practice Areas</a:t>
            </a:r>
            <a:endParaRPr lang="en-US" dirty="0"/>
          </a:p>
        </p:txBody>
      </p:sp>
      <p:pic>
        <p:nvPicPr>
          <p:cNvPr id="6146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4778" y="1458282"/>
            <a:ext cx="1809235" cy="453860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6147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79714" y="1471852"/>
            <a:ext cx="1833950" cy="393759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6148" name="Picture 4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96696" y="1482997"/>
            <a:ext cx="1821592" cy="375033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6150" name="Picture 6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52863" y="1470639"/>
            <a:ext cx="1833949" cy="312850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42653847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439179"/>
              </p:ext>
            </p:extLst>
          </p:nvPr>
        </p:nvGraphicFramePr>
        <p:xfrm>
          <a:off x="2609851" y="5753616"/>
          <a:ext cx="6556375" cy="10001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24" name="Worksheet" r:id="rId5" imgW="6534049" imgH="1000104" progId="Excel.Sheet.12">
                  <p:embed/>
                </p:oleObj>
              </mc:Choice>
              <mc:Fallback>
                <p:oleObj name="Worksheet" r:id="rId5" imgW="6534049" imgH="1000104" progId="Excel.Sheet.12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609851" y="5753616"/>
                        <a:ext cx="6556375" cy="100012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/>
                    </p:spPr>
                  </p:pic>
                </p:oleObj>
              </mc:Fallback>
            </mc:AlternateContent>
          </a:graphicData>
        </a:graphic>
      </p:graphicFrame>
      <p:sp>
        <p:nvSpPr>
          <p:cNvPr id="49155" name="Rectangle 4"/>
          <p:cNvSpPr>
            <a:spLocks noGrp="1" noChangeArrowheads="1"/>
          </p:cNvSpPr>
          <p:nvPr>
            <p:ph type="title"/>
          </p:nvPr>
        </p:nvSpPr>
        <p:spPr>
          <a:xfrm>
            <a:off x="1" y="176646"/>
            <a:ext cx="9144000" cy="856818"/>
          </a:xfrm>
        </p:spPr>
        <p:txBody>
          <a:bodyPr/>
          <a:lstStyle/>
          <a:p>
            <a:pPr algn="ctr" eaLnBrk="1" hangingPunct="1"/>
            <a:r>
              <a:rPr lang="en-US" sz="2800" dirty="0" smtClean="0"/>
              <a:t>Compliance Practice Area Map  </a:t>
            </a:r>
            <a:r>
              <a:rPr lang="en-US" sz="800" b="1" dirty="0" smtClean="0"/>
              <a:t>  </a:t>
            </a:r>
            <a:r>
              <a:rPr lang="en-US" sz="2400" b="1" dirty="0" smtClean="0"/>
              <a:t/>
            </a:r>
            <a:br>
              <a:rPr lang="en-US" sz="2400" b="1" dirty="0" smtClean="0"/>
            </a:br>
            <a:endParaRPr lang="en-US" sz="1200" dirty="0" smtClean="0"/>
          </a:p>
        </p:txBody>
      </p:sp>
      <p:grpSp>
        <p:nvGrpSpPr>
          <p:cNvPr id="6" name="Group 5"/>
          <p:cNvGrpSpPr/>
          <p:nvPr/>
        </p:nvGrpSpPr>
        <p:grpSpPr>
          <a:xfrm>
            <a:off x="188913" y="1227728"/>
            <a:ext cx="8686800" cy="4419600"/>
            <a:chOff x="152400" y="1355725"/>
            <a:chExt cx="8686800" cy="4419600"/>
          </a:xfrm>
        </p:grpSpPr>
        <p:sp>
          <p:nvSpPr>
            <p:cNvPr id="49153" name="Freeform 2">
              <a:hlinkClick r:id="rId7"/>
            </p:cNvPr>
            <p:cNvSpPr>
              <a:spLocks/>
            </p:cNvSpPr>
            <p:nvPr/>
          </p:nvSpPr>
          <p:spPr bwMode="auto">
            <a:xfrm>
              <a:off x="1219200" y="2409825"/>
              <a:ext cx="1031875" cy="1828800"/>
            </a:xfrm>
            <a:custGeom>
              <a:avLst/>
              <a:gdLst>
                <a:gd name="T0" fmla="*/ 2147483647 w 676"/>
                <a:gd name="T1" fmla="*/ 2147483647 h 1120"/>
                <a:gd name="T2" fmla="*/ 2147483647 w 676"/>
                <a:gd name="T3" fmla="*/ 2147483647 h 1120"/>
                <a:gd name="T4" fmla="*/ 2147483647 w 676"/>
                <a:gd name="T5" fmla="*/ 2147483647 h 1120"/>
                <a:gd name="T6" fmla="*/ 2147483647 w 676"/>
                <a:gd name="T7" fmla="*/ 2147483647 h 1120"/>
                <a:gd name="T8" fmla="*/ 2147483647 w 676"/>
                <a:gd name="T9" fmla="*/ 2147483647 h 1120"/>
                <a:gd name="T10" fmla="*/ 2147483647 w 676"/>
                <a:gd name="T11" fmla="*/ 2147483647 h 1120"/>
                <a:gd name="T12" fmla="*/ 2147483647 w 676"/>
                <a:gd name="T13" fmla="*/ 2147483647 h 1120"/>
                <a:gd name="T14" fmla="*/ 2147483647 w 676"/>
                <a:gd name="T15" fmla="*/ 2147483647 h 1120"/>
                <a:gd name="T16" fmla="*/ 2147483647 w 676"/>
                <a:gd name="T17" fmla="*/ 2147483647 h 1120"/>
                <a:gd name="T18" fmla="*/ 2147483647 w 676"/>
                <a:gd name="T19" fmla="*/ 2147483647 h 1120"/>
                <a:gd name="T20" fmla="*/ 2147483647 w 676"/>
                <a:gd name="T21" fmla="*/ 2147483647 h 1120"/>
                <a:gd name="T22" fmla="*/ 2147483647 w 676"/>
                <a:gd name="T23" fmla="*/ 2147483647 h 1120"/>
                <a:gd name="T24" fmla="*/ 2147483647 w 676"/>
                <a:gd name="T25" fmla="*/ 2147483647 h 1120"/>
                <a:gd name="T26" fmla="*/ 2147483647 w 676"/>
                <a:gd name="T27" fmla="*/ 2147483647 h 1120"/>
                <a:gd name="T28" fmla="*/ 2147483647 w 676"/>
                <a:gd name="T29" fmla="*/ 2147483647 h 1120"/>
                <a:gd name="T30" fmla="*/ 2147483647 w 676"/>
                <a:gd name="T31" fmla="*/ 2147483647 h 1120"/>
                <a:gd name="T32" fmla="*/ 2147483647 w 676"/>
                <a:gd name="T33" fmla="*/ 2147483647 h 1120"/>
                <a:gd name="T34" fmla="*/ 2147483647 w 676"/>
                <a:gd name="T35" fmla="*/ 2147483647 h 1120"/>
                <a:gd name="T36" fmla="*/ 2147483647 w 676"/>
                <a:gd name="T37" fmla="*/ 2147483647 h 1120"/>
                <a:gd name="T38" fmla="*/ 2147483647 w 676"/>
                <a:gd name="T39" fmla="*/ 2147483647 h 1120"/>
                <a:gd name="T40" fmla="*/ 2147483647 w 676"/>
                <a:gd name="T41" fmla="*/ 2147483647 h 1120"/>
                <a:gd name="T42" fmla="*/ 2147483647 w 676"/>
                <a:gd name="T43" fmla="*/ 2147483647 h 1120"/>
                <a:gd name="T44" fmla="*/ 2147483647 w 676"/>
                <a:gd name="T45" fmla="*/ 2147483647 h 1120"/>
                <a:gd name="T46" fmla="*/ 2147483647 w 676"/>
                <a:gd name="T47" fmla="*/ 2147483647 h 1120"/>
                <a:gd name="T48" fmla="*/ 2147483647 w 676"/>
                <a:gd name="T49" fmla="*/ 2147483647 h 1120"/>
                <a:gd name="T50" fmla="*/ 2147483647 w 676"/>
                <a:gd name="T51" fmla="*/ 2147483647 h 1120"/>
                <a:gd name="T52" fmla="*/ 2147483647 w 676"/>
                <a:gd name="T53" fmla="*/ 2147483647 h 1120"/>
                <a:gd name="T54" fmla="*/ 2147483647 w 676"/>
                <a:gd name="T55" fmla="*/ 0 h 1120"/>
                <a:gd name="T56" fmla="*/ 2147483647 w 676"/>
                <a:gd name="T57" fmla="*/ 2147483647 h 1120"/>
                <a:gd name="T58" fmla="*/ 0 w 676"/>
                <a:gd name="T59" fmla="*/ 2147483647 h 1120"/>
                <a:gd name="T60" fmla="*/ 2147483647 w 676"/>
                <a:gd name="T61" fmla="*/ 2147483647 h 1120"/>
                <a:gd name="T62" fmla="*/ 2147483647 w 676"/>
                <a:gd name="T63" fmla="*/ 2147483647 h 1120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w 676"/>
                <a:gd name="T97" fmla="*/ 0 h 1120"/>
                <a:gd name="T98" fmla="*/ 676 w 676"/>
                <a:gd name="T99" fmla="*/ 1120 h 1120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T96" t="T97" r="T98" b="T99"/>
              <a:pathLst>
                <a:path w="676" h="1120">
                  <a:moveTo>
                    <a:pt x="22" y="228"/>
                  </a:moveTo>
                  <a:lnTo>
                    <a:pt x="3" y="315"/>
                  </a:lnTo>
                  <a:lnTo>
                    <a:pt x="68" y="455"/>
                  </a:lnTo>
                  <a:lnTo>
                    <a:pt x="80" y="446"/>
                  </a:lnTo>
                  <a:lnTo>
                    <a:pt x="101" y="505"/>
                  </a:lnTo>
                  <a:lnTo>
                    <a:pt x="68" y="463"/>
                  </a:lnTo>
                  <a:lnTo>
                    <a:pt x="61" y="528"/>
                  </a:lnTo>
                  <a:lnTo>
                    <a:pt x="98" y="568"/>
                  </a:lnTo>
                  <a:lnTo>
                    <a:pt x="73" y="623"/>
                  </a:lnTo>
                  <a:lnTo>
                    <a:pt x="144" y="772"/>
                  </a:lnTo>
                  <a:lnTo>
                    <a:pt x="128" y="826"/>
                  </a:lnTo>
                  <a:lnTo>
                    <a:pt x="221" y="869"/>
                  </a:lnTo>
                  <a:lnTo>
                    <a:pt x="256" y="913"/>
                  </a:lnTo>
                  <a:lnTo>
                    <a:pt x="296" y="928"/>
                  </a:lnTo>
                  <a:lnTo>
                    <a:pt x="296" y="954"/>
                  </a:lnTo>
                  <a:lnTo>
                    <a:pt x="321" y="960"/>
                  </a:lnTo>
                  <a:lnTo>
                    <a:pt x="376" y="1046"/>
                  </a:lnTo>
                  <a:lnTo>
                    <a:pt x="376" y="1106"/>
                  </a:lnTo>
                  <a:lnTo>
                    <a:pt x="617" y="1120"/>
                  </a:lnTo>
                  <a:lnTo>
                    <a:pt x="602" y="1096"/>
                  </a:lnTo>
                  <a:lnTo>
                    <a:pt x="609" y="1059"/>
                  </a:lnTo>
                  <a:lnTo>
                    <a:pt x="648" y="999"/>
                  </a:lnTo>
                  <a:lnTo>
                    <a:pt x="676" y="981"/>
                  </a:lnTo>
                  <a:lnTo>
                    <a:pt x="660" y="959"/>
                  </a:lnTo>
                  <a:lnTo>
                    <a:pt x="649" y="900"/>
                  </a:lnTo>
                  <a:lnTo>
                    <a:pt x="303" y="385"/>
                  </a:lnTo>
                  <a:lnTo>
                    <a:pt x="385" y="87"/>
                  </a:lnTo>
                  <a:lnTo>
                    <a:pt x="64" y="0"/>
                  </a:lnTo>
                  <a:lnTo>
                    <a:pt x="55" y="18"/>
                  </a:lnTo>
                  <a:lnTo>
                    <a:pt x="0" y="149"/>
                  </a:lnTo>
                  <a:lnTo>
                    <a:pt x="22" y="228"/>
                  </a:lnTo>
                  <a:close/>
                </a:path>
              </a:pathLst>
            </a:custGeom>
            <a:solidFill>
              <a:srgbClr val="006600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9154" name="Text Box 3"/>
            <p:cNvSpPr txBox="1">
              <a:spLocks noChangeArrowheads="1"/>
            </p:cNvSpPr>
            <p:nvPr/>
          </p:nvSpPr>
          <p:spPr bwMode="auto">
            <a:xfrm>
              <a:off x="1295400" y="2803525"/>
              <a:ext cx="457200" cy="228600"/>
            </a:xfrm>
            <a:prstGeom prst="rect">
              <a:avLst/>
            </a:prstGeom>
            <a:noFill/>
            <a:ln w="12700">
              <a:noFill/>
              <a:miter lim="800000"/>
              <a:headEnd type="none" w="sm" len="sm"/>
              <a:tailEnd type="none" w="sm" len="sm"/>
            </a:ln>
          </p:spPr>
          <p:txBody>
            <a:bodyPr>
              <a:spAutoFit/>
            </a:bodyPr>
            <a:lstStyle/>
            <a:p>
              <a:pPr>
                <a:spcBef>
                  <a:spcPct val="50000"/>
                </a:spcBef>
              </a:pPr>
              <a:r>
                <a:rPr lang="en-US" sz="900" u="none" dirty="0">
                  <a:solidFill>
                    <a:schemeClr val="bg1"/>
                  </a:solidFill>
                </a:rPr>
                <a:t>CA</a:t>
              </a:r>
            </a:p>
          </p:txBody>
        </p:sp>
        <p:sp>
          <p:nvSpPr>
            <p:cNvPr id="49156" name="Freeform 5"/>
            <p:cNvSpPr>
              <a:spLocks/>
            </p:cNvSpPr>
            <p:nvPr/>
          </p:nvSpPr>
          <p:spPr bwMode="auto">
            <a:xfrm>
              <a:off x="1576388" y="1400175"/>
              <a:ext cx="871537" cy="654050"/>
            </a:xfrm>
            <a:custGeom>
              <a:avLst/>
              <a:gdLst>
                <a:gd name="T0" fmla="*/ 2147483647 w 571"/>
                <a:gd name="T1" fmla="*/ 2147483647 h 401"/>
                <a:gd name="T2" fmla="*/ 2147483647 w 571"/>
                <a:gd name="T3" fmla="*/ 2147483647 h 401"/>
                <a:gd name="T4" fmla="*/ 2147483647 w 571"/>
                <a:gd name="T5" fmla="*/ 2147483647 h 401"/>
                <a:gd name="T6" fmla="*/ 2147483647 w 571"/>
                <a:gd name="T7" fmla="*/ 2147483647 h 401"/>
                <a:gd name="T8" fmla="*/ 2147483647 w 571"/>
                <a:gd name="T9" fmla="*/ 2147483647 h 401"/>
                <a:gd name="T10" fmla="*/ 0 w 571"/>
                <a:gd name="T11" fmla="*/ 2147483647 h 401"/>
                <a:gd name="T12" fmla="*/ 2147483647 w 571"/>
                <a:gd name="T13" fmla="*/ 2147483647 h 401"/>
                <a:gd name="T14" fmla="*/ 2147483647 w 571"/>
                <a:gd name="T15" fmla="*/ 2147483647 h 401"/>
                <a:gd name="T16" fmla="*/ 2147483647 w 571"/>
                <a:gd name="T17" fmla="*/ 2147483647 h 401"/>
                <a:gd name="T18" fmla="*/ 2147483647 w 571"/>
                <a:gd name="T19" fmla="*/ 2147483647 h 401"/>
                <a:gd name="T20" fmla="*/ 2147483647 w 571"/>
                <a:gd name="T21" fmla="*/ 2147483647 h 401"/>
                <a:gd name="T22" fmla="*/ 2147483647 w 571"/>
                <a:gd name="T23" fmla="*/ 2147483647 h 401"/>
                <a:gd name="T24" fmla="*/ 2147483647 w 571"/>
                <a:gd name="T25" fmla="*/ 2147483647 h 401"/>
                <a:gd name="T26" fmla="*/ 2147483647 w 571"/>
                <a:gd name="T27" fmla="*/ 2147483647 h 401"/>
                <a:gd name="T28" fmla="*/ 2147483647 w 571"/>
                <a:gd name="T29" fmla="*/ 2147483647 h 401"/>
                <a:gd name="T30" fmla="*/ 2147483647 w 571"/>
                <a:gd name="T31" fmla="*/ 2147483647 h 401"/>
                <a:gd name="T32" fmla="*/ 2147483647 w 571"/>
                <a:gd name="T33" fmla="*/ 2147483647 h 401"/>
                <a:gd name="T34" fmla="*/ 2147483647 w 571"/>
                <a:gd name="T35" fmla="*/ 0 h 401"/>
                <a:gd name="T36" fmla="*/ 2147483647 w 571"/>
                <a:gd name="T37" fmla="*/ 2147483647 h 401"/>
                <a:gd name="T38" fmla="*/ 2147483647 w 571"/>
                <a:gd name="T39" fmla="*/ 2147483647 h 401"/>
                <a:gd name="T40" fmla="*/ 2147483647 w 571"/>
                <a:gd name="T41" fmla="*/ 2147483647 h 401"/>
                <a:gd name="T42" fmla="*/ 2147483647 w 571"/>
                <a:gd name="T43" fmla="*/ 2147483647 h 401"/>
                <a:gd name="T44" fmla="*/ 2147483647 w 571"/>
                <a:gd name="T45" fmla="*/ 2147483647 h 401"/>
                <a:gd name="T46" fmla="*/ 2147483647 w 571"/>
                <a:gd name="T47" fmla="*/ 2147483647 h 401"/>
                <a:gd name="T48" fmla="*/ 2147483647 w 571"/>
                <a:gd name="T49" fmla="*/ 2147483647 h 401"/>
                <a:gd name="T50" fmla="*/ 2147483647 w 571"/>
                <a:gd name="T51" fmla="*/ 2147483647 h 401"/>
                <a:gd name="T52" fmla="*/ 2147483647 w 571"/>
                <a:gd name="T53" fmla="*/ 2147483647 h 401"/>
                <a:gd name="T54" fmla="*/ 2147483647 w 571"/>
                <a:gd name="T55" fmla="*/ 2147483647 h 401"/>
                <a:gd name="T56" fmla="*/ 2147483647 w 571"/>
                <a:gd name="T57" fmla="*/ 2147483647 h 401"/>
                <a:gd name="T58" fmla="*/ 2147483647 w 571"/>
                <a:gd name="T59" fmla="*/ 2147483647 h 401"/>
                <a:gd name="T60" fmla="*/ 2147483647 w 571"/>
                <a:gd name="T61" fmla="*/ 2147483647 h 401"/>
                <a:gd name="T62" fmla="*/ 2147483647 w 571"/>
                <a:gd name="T63" fmla="*/ 2147483647 h 401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w 571"/>
                <a:gd name="T97" fmla="*/ 0 h 401"/>
                <a:gd name="T98" fmla="*/ 571 w 571"/>
                <a:gd name="T99" fmla="*/ 401 h 401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T96" t="T97" r="T98" b="T99"/>
              <a:pathLst>
                <a:path w="571" h="401">
                  <a:moveTo>
                    <a:pt x="21" y="87"/>
                  </a:moveTo>
                  <a:lnTo>
                    <a:pt x="14" y="197"/>
                  </a:lnTo>
                  <a:lnTo>
                    <a:pt x="27" y="197"/>
                  </a:lnTo>
                  <a:lnTo>
                    <a:pt x="20" y="221"/>
                  </a:lnTo>
                  <a:lnTo>
                    <a:pt x="9" y="206"/>
                  </a:lnTo>
                  <a:lnTo>
                    <a:pt x="0" y="236"/>
                  </a:lnTo>
                  <a:lnTo>
                    <a:pt x="40" y="258"/>
                  </a:lnTo>
                  <a:lnTo>
                    <a:pt x="42" y="268"/>
                  </a:lnTo>
                  <a:lnTo>
                    <a:pt x="52" y="269"/>
                  </a:lnTo>
                  <a:lnTo>
                    <a:pt x="104" y="351"/>
                  </a:lnTo>
                  <a:lnTo>
                    <a:pt x="162" y="348"/>
                  </a:lnTo>
                  <a:lnTo>
                    <a:pt x="205" y="367"/>
                  </a:lnTo>
                  <a:lnTo>
                    <a:pt x="226" y="364"/>
                  </a:lnTo>
                  <a:lnTo>
                    <a:pt x="357" y="367"/>
                  </a:lnTo>
                  <a:lnTo>
                    <a:pt x="505" y="401"/>
                  </a:lnTo>
                  <a:lnTo>
                    <a:pt x="508" y="356"/>
                  </a:lnTo>
                  <a:lnTo>
                    <a:pt x="571" y="98"/>
                  </a:lnTo>
                  <a:lnTo>
                    <a:pt x="176" y="0"/>
                  </a:lnTo>
                  <a:lnTo>
                    <a:pt x="179" y="75"/>
                  </a:lnTo>
                  <a:lnTo>
                    <a:pt x="159" y="137"/>
                  </a:lnTo>
                  <a:lnTo>
                    <a:pt x="156" y="169"/>
                  </a:lnTo>
                  <a:lnTo>
                    <a:pt x="115" y="179"/>
                  </a:lnTo>
                  <a:lnTo>
                    <a:pt x="112" y="165"/>
                  </a:lnTo>
                  <a:lnTo>
                    <a:pt x="146" y="144"/>
                  </a:lnTo>
                  <a:lnTo>
                    <a:pt x="143" y="126"/>
                  </a:lnTo>
                  <a:lnTo>
                    <a:pt x="112" y="131"/>
                  </a:lnTo>
                  <a:lnTo>
                    <a:pt x="135" y="112"/>
                  </a:lnTo>
                  <a:lnTo>
                    <a:pt x="152" y="98"/>
                  </a:lnTo>
                  <a:lnTo>
                    <a:pt x="24" y="19"/>
                  </a:lnTo>
                  <a:lnTo>
                    <a:pt x="14" y="41"/>
                  </a:lnTo>
                  <a:lnTo>
                    <a:pt x="21" y="87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9157" name="Freeform 6"/>
            <p:cNvSpPr>
              <a:spLocks/>
            </p:cNvSpPr>
            <p:nvPr/>
          </p:nvSpPr>
          <p:spPr bwMode="auto">
            <a:xfrm>
              <a:off x="1778000" y="1409700"/>
              <a:ext cx="71438" cy="76200"/>
            </a:xfrm>
            <a:custGeom>
              <a:avLst/>
              <a:gdLst>
                <a:gd name="T0" fmla="*/ 0 w 27"/>
                <a:gd name="T1" fmla="*/ 2147483647 h 30"/>
                <a:gd name="T2" fmla="*/ 2147483647 w 27"/>
                <a:gd name="T3" fmla="*/ 0 h 30"/>
                <a:gd name="T4" fmla="*/ 2147483647 w 27"/>
                <a:gd name="T5" fmla="*/ 2147483647 h 30"/>
                <a:gd name="T6" fmla="*/ 2147483647 w 27"/>
                <a:gd name="T7" fmla="*/ 2147483647 h 30"/>
                <a:gd name="T8" fmla="*/ 0 w 27"/>
                <a:gd name="T9" fmla="*/ 2147483647 h 30"/>
                <a:gd name="T10" fmla="*/ 0 w 27"/>
                <a:gd name="T11" fmla="*/ 2147483647 h 30"/>
                <a:gd name="T12" fmla="*/ 0 w 27"/>
                <a:gd name="T13" fmla="*/ 2147483647 h 30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27"/>
                <a:gd name="T22" fmla="*/ 0 h 30"/>
                <a:gd name="T23" fmla="*/ 27 w 27"/>
                <a:gd name="T24" fmla="*/ 30 h 30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27" h="30">
                  <a:moveTo>
                    <a:pt x="0" y="13"/>
                  </a:moveTo>
                  <a:lnTo>
                    <a:pt x="21" y="0"/>
                  </a:lnTo>
                  <a:lnTo>
                    <a:pt x="27" y="13"/>
                  </a:lnTo>
                  <a:lnTo>
                    <a:pt x="22" y="30"/>
                  </a:lnTo>
                  <a:lnTo>
                    <a:pt x="0" y="13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9158" name="Freeform 7"/>
            <p:cNvSpPr>
              <a:spLocks/>
            </p:cNvSpPr>
            <p:nvPr/>
          </p:nvSpPr>
          <p:spPr bwMode="auto">
            <a:xfrm>
              <a:off x="2374900" y="2792413"/>
              <a:ext cx="735013" cy="954087"/>
            </a:xfrm>
            <a:custGeom>
              <a:avLst/>
              <a:gdLst>
                <a:gd name="T0" fmla="*/ 2147483647 w 482"/>
                <a:gd name="T1" fmla="*/ 0 h 584"/>
                <a:gd name="T2" fmla="*/ 2147483647 w 482"/>
                <a:gd name="T3" fmla="*/ 2147483647 h 584"/>
                <a:gd name="T4" fmla="*/ 2147483647 w 482"/>
                <a:gd name="T5" fmla="*/ 2147483647 h 584"/>
                <a:gd name="T6" fmla="*/ 2147483647 w 482"/>
                <a:gd name="T7" fmla="*/ 2147483647 h 584"/>
                <a:gd name="T8" fmla="*/ 2147483647 w 482"/>
                <a:gd name="T9" fmla="*/ 2147483647 h 584"/>
                <a:gd name="T10" fmla="*/ 0 w 482"/>
                <a:gd name="T11" fmla="*/ 2147483647 h 584"/>
                <a:gd name="T12" fmla="*/ 2147483647 w 482"/>
                <a:gd name="T13" fmla="*/ 0 h 584"/>
                <a:gd name="T14" fmla="*/ 2147483647 w 482"/>
                <a:gd name="T15" fmla="*/ 0 h 584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482"/>
                <a:gd name="T25" fmla="*/ 0 h 584"/>
                <a:gd name="T26" fmla="*/ 482 w 482"/>
                <a:gd name="T27" fmla="*/ 584 h 584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482" h="584">
                  <a:moveTo>
                    <a:pt x="104" y="0"/>
                  </a:moveTo>
                  <a:lnTo>
                    <a:pt x="338" y="43"/>
                  </a:lnTo>
                  <a:lnTo>
                    <a:pt x="321" y="144"/>
                  </a:lnTo>
                  <a:lnTo>
                    <a:pt x="482" y="169"/>
                  </a:lnTo>
                  <a:lnTo>
                    <a:pt x="420" y="584"/>
                  </a:lnTo>
                  <a:lnTo>
                    <a:pt x="0" y="514"/>
                  </a:lnTo>
                  <a:lnTo>
                    <a:pt x="104" y="0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9160" name="Freeform 9"/>
            <p:cNvSpPr>
              <a:spLocks/>
            </p:cNvSpPr>
            <p:nvPr/>
          </p:nvSpPr>
          <p:spPr bwMode="auto">
            <a:xfrm>
              <a:off x="1709738" y="2624138"/>
              <a:ext cx="828675" cy="1322387"/>
            </a:xfrm>
            <a:custGeom>
              <a:avLst/>
              <a:gdLst>
                <a:gd name="T0" fmla="*/ 0 w 543"/>
                <a:gd name="T1" fmla="*/ 2147483647 h 810"/>
                <a:gd name="T2" fmla="*/ 2147483647 w 543"/>
                <a:gd name="T3" fmla="*/ 2147483647 h 810"/>
                <a:gd name="T4" fmla="*/ 2147483647 w 543"/>
                <a:gd name="T5" fmla="*/ 2147483647 h 810"/>
                <a:gd name="T6" fmla="*/ 2147483647 w 543"/>
                <a:gd name="T7" fmla="*/ 2147483647 h 810"/>
                <a:gd name="T8" fmla="*/ 2147483647 w 543"/>
                <a:gd name="T9" fmla="*/ 2147483647 h 810"/>
                <a:gd name="T10" fmla="*/ 2147483647 w 543"/>
                <a:gd name="T11" fmla="*/ 2147483647 h 810"/>
                <a:gd name="T12" fmla="*/ 2147483647 w 543"/>
                <a:gd name="T13" fmla="*/ 2147483647 h 810"/>
                <a:gd name="T14" fmla="*/ 2147483647 w 543"/>
                <a:gd name="T15" fmla="*/ 2147483647 h 810"/>
                <a:gd name="T16" fmla="*/ 2147483647 w 543"/>
                <a:gd name="T17" fmla="*/ 0 h 810"/>
                <a:gd name="T18" fmla="*/ 0 w 543"/>
                <a:gd name="T19" fmla="*/ 2147483647 h 810"/>
                <a:gd name="T20" fmla="*/ 0 w 543"/>
                <a:gd name="T21" fmla="*/ 2147483647 h 810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543"/>
                <a:gd name="T34" fmla="*/ 0 h 810"/>
                <a:gd name="T35" fmla="*/ 543 w 543"/>
                <a:gd name="T36" fmla="*/ 810 h 810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543" h="810">
                  <a:moveTo>
                    <a:pt x="0" y="297"/>
                  </a:moveTo>
                  <a:lnTo>
                    <a:pt x="345" y="810"/>
                  </a:lnTo>
                  <a:lnTo>
                    <a:pt x="358" y="701"/>
                  </a:lnTo>
                  <a:lnTo>
                    <a:pt x="378" y="695"/>
                  </a:lnTo>
                  <a:lnTo>
                    <a:pt x="410" y="715"/>
                  </a:lnTo>
                  <a:lnTo>
                    <a:pt x="439" y="617"/>
                  </a:lnTo>
                  <a:lnTo>
                    <a:pt x="543" y="103"/>
                  </a:lnTo>
                  <a:lnTo>
                    <a:pt x="311" y="54"/>
                  </a:lnTo>
                  <a:lnTo>
                    <a:pt x="81" y="0"/>
                  </a:lnTo>
                  <a:lnTo>
                    <a:pt x="0" y="297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9161" name="Freeform 10"/>
            <p:cNvSpPr>
              <a:spLocks/>
            </p:cNvSpPr>
            <p:nvPr/>
          </p:nvSpPr>
          <p:spPr bwMode="auto">
            <a:xfrm>
              <a:off x="2181225" y="1560513"/>
              <a:ext cx="779463" cy="1298575"/>
            </a:xfrm>
            <a:custGeom>
              <a:avLst/>
              <a:gdLst>
                <a:gd name="T0" fmla="*/ 0 w 511"/>
                <a:gd name="T1" fmla="*/ 2147483647 h 795"/>
                <a:gd name="T2" fmla="*/ 2147483647 w 511"/>
                <a:gd name="T3" fmla="*/ 2147483647 h 795"/>
                <a:gd name="T4" fmla="*/ 2147483647 w 511"/>
                <a:gd name="T5" fmla="*/ 2147483647 h 795"/>
                <a:gd name="T6" fmla="*/ 2147483647 w 511"/>
                <a:gd name="T7" fmla="*/ 2147483647 h 795"/>
                <a:gd name="T8" fmla="*/ 2147483647 w 511"/>
                <a:gd name="T9" fmla="*/ 2147483647 h 795"/>
                <a:gd name="T10" fmla="*/ 2147483647 w 511"/>
                <a:gd name="T11" fmla="*/ 2147483647 h 795"/>
                <a:gd name="T12" fmla="*/ 2147483647 w 511"/>
                <a:gd name="T13" fmla="*/ 2147483647 h 795"/>
                <a:gd name="T14" fmla="*/ 2147483647 w 511"/>
                <a:gd name="T15" fmla="*/ 2147483647 h 795"/>
                <a:gd name="T16" fmla="*/ 2147483647 w 511"/>
                <a:gd name="T17" fmla="*/ 2147483647 h 795"/>
                <a:gd name="T18" fmla="*/ 2147483647 w 511"/>
                <a:gd name="T19" fmla="*/ 2147483647 h 795"/>
                <a:gd name="T20" fmla="*/ 2147483647 w 511"/>
                <a:gd name="T21" fmla="*/ 0 h 795"/>
                <a:gd name="T22" fmla="*/ 2147483647 w 511"/>
                <a:gd name="T23" fmla="*/ 2147483647 h 795"/>
                <a:gd name="T24" fmla="*/ 2147483647 w 511"/>
                <a:gd name="T25" fmla="*/ 2147483647 h 795"/>
                <a:gd name="T26" fmla="*/ 2147483647 w 511"/>
                <a:gd name="T27" fmla="*/ 2147483647 h 795"/>
                <a:gd name="T28" fmla="*/ 2147483647 w 511"/>
                <a:gd name="T29" fmla="*/ 2147483647 h 795"/>
                <a:gd name="T30" fmla="*/ 2147483647 w 511"/>
                <a:gd name="T31" fmla="*/ 2147483647 h 795"/>
                <a:gd name="T32" fmla="*/ 2147483647 w 511"/>
                <a:gd name="T33" fmla="*/ 2147483647 h 795"/>
                <a:gd name="T34" fmla="*/ 2147483647 w 511"/>
                <a:gd name="T35" fmla="*/ 2147483647 h 795"/>
                <a:gd name="T36" fmla="*/ 2147483647 w 511"/>
                <a:gd name="T37" fmla="*/ 2147483647 h 795"/>
                <a:gd name="T38" fmla="*/ 2147483647 w 511"/>
                <a:gd name="T39" fmla="*/ 2147483647 h 795"/>
                <a:gd name="T40" fmla="*/ 2147483647 w 511"/>
                <a:gd name="T41" fmla="*/ 2147483647 h 795"/>
                <a:gd name="T42" fmla="*/ 2147483647 w 511"/>
                <a:gd name="T43" fmla="*/ 2147483647 h 795"/>
                <a:gd name="T44" fmla="*/ 2147483647 w 511"/>
                <a:gd name="T45" fmla="*/ 2147483647 h 795"/>
                <a:gd name="T46" fmla="*/ 2147483647 w 511"/>
                <a:gd name="T47" fmla="*/ 2147483647 h 795"/>
                <a:gd name="T48" fmla="*/ 2147483647 w 511"/>
                <a:gd name="T49" fmla="*/ 2147483647 h 795"/>
                <a:gd name="T50" fmla="*/ 2147483647 w 511"/>
                <a:gd name="T51" fmla="*/ 2147483647 h 795"/>
                <a:gd name="T52" fmla="*/ 2147483647 w 511"/>
                <a:gd name="T53" fmla="*/ 2147483647 h 795"/>
                <a:gd name="T54" fmla="*/ 2147483647 w 511"/>
                <a:gd name="T55" fmla="*/ 2147483647 h 795"/>
                <a:gd name="T56" fmla="*/ 2147483647 w 511"/>
                <a:gd name="T57" fmla="*/ 2147483647 h 795"/>
                <a:gd name="T58" fmla="*/ 2147483647 w 511"/>
                <a:gd name="T59" fmla="*/ 2147483647 h 795"/>
                <a:gd name="T60" fmla="*/ 2147483647 w 511"/>
                <a:gd name="T61" fmla="*/ 2147483647 h 795"/>
                <a:gd name="T62" fmla="*/ 0 w 511"/>
                <a:gd name="T63" fmla="*/ 2147483647 h 795"/>
                <a:gd name="T64" fmla="*/ 0 w 511"/>
                <a:gd name="T65" fmla="*/ 2147483647 h 795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511"/>
                <a:gd name="T100" fmla="*/ 0 h 795"/>
                <a:gd name="T101" fmla="*/ 511 w 511"/>
                <a:gd name="T102" fmla="*/ 795 h 795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511" h="795">
                  <a:moveTo>
                    <a:pt x="0" y="705"/>
                  </a:moveTo>
                  <a:lnTo>
                    <a:pt x="41" y="537"/>
                  </a:lnTo>
                  <a:lnTo>
                    <a:pt x="62" y="490"/>
                  </a:lnTo>
                  <a:lnTo>
                    <a:pt x="43" y="469"/>
                  </a:lnTo>
                  <a:lnTo>
                    <a:pt x="47" y="449"/>
                  </a:lnTo>
                  <a:lnTo>
                    <a:pt x="80" y="421"/>
                  </a:lnTo>
                  <a:lnTo>
                    <a:pt x="131" y="344"/>
                  </a:lnTo>
                  <a:lnTo>
                    <a:pt x="113" y="319"/>
                  </a:lnTo>
                  <a:lnTo>
                    <a:pt x="105" y="301"/>
                  </a:lnTo>
                  <a:lnTo>
                    <a:pt x="108" y="258"/>
                  </a:lnTo>
                  <a:lnTo>
                    <a:pt x="171" y="0"/>
                  </a:lnTo>
                  <a:lnTo>
                    <a:pt x="238" y="14"/>
                  </a:lnTo>
                  <a:lnTo>
                    <a:pt x="215" y="115"/>
                  </a:lnTo>
                  <a:lnTo>
                    <a:pt x="230" y="151"/>
                  </a:lnTo>
                  <a:lnTo>
                    <a:pt x="232" y="173"/>
                  </a:lnTo>
                  <a:lnTo>
                    <a:pt x="224" y="177"/>
                  </a:lnTo>
                  <a:lnTo>
                    <a:pt x="249" y="201"/>
                  </a:lnTo>
                  <a:lnTo>
                    <a:pt x="276" y="266"/>
                  </a:lnTo>
                  <a:lnTo>
                    <a:pt x="285" y="323"/>
                  </a:lnTo>
                  <a:lnTo>
                    <a:pt x="290" y="354"/>
                  </a:lnTo>
                  <a:lnTo>
                    <a:pt x="270" y="384"/>
                  </a:lnTo>
                  <a:lnTo>
                    <a:pt x="284" y="397"/>
                  </a:lnTo>
                  <a:lnTo>
                    <a:pt x="319" y="378"/>
                  </a:lnTo>
                  <a:lnTo>
                    <a:pt x="343" y="480"/>
                  </a:lnTo>
                  <a:lnTo>
                    <a:pt x="359" y="484"/>
                  </a:lnTo>
                  <a:lnTo>
                    <a:pt x="362" y="513"/>
                  </a:lnTo>
                  <a:lnTo>
                    <a:pt x="408" y="525"/>
                  </a:lnTo>
                  <a:lnTo>
                    <a:pt x="480" y="527"/>
                  </a:lnTo>
                  <a:lnTo>
                    <a:pt x="511" y="540"/>
                  </a:lnTo>
                  <a:lnTo>
                    <a:pt x="466" y="795"/>
                  </a:lnTo>
                  <a:lnTo>
                    <a:pt x="232" y="754"/>
                  </a:lnTo>
                  <a:lnTo>
                    <a:pt x="0" y="705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9162" name="Freeform 11"/>
            <p:cNvSpPr>
              <a:spLocks/>
            </p:cNvSpPr>
            <p:nvPr/>
          </p:nvSpPr>
          <p:spPr bwMode="auto">
            <a:xfrm>
              <a:off x="2506663" y="1584325"/>
              <a:ext cx="1335087" cy="877888"/>
            </a:xfrm>
            <a:custGeom>
              <a:avLst/>
              <a:gdLst>
                <a:gd name="T0" fmla="*/ 2147483647 w 874"/>
                <a:gd name="T1" fmla="*/ 2147483647 h 538"/>
                <a:gd name="T2" fmla="*/ 2147483647 w 874"/>
                <a:gd name="T3" fmla="*/ 2147483647 h 538"/>
                <a:gd name="T4" fmla="*/ 2147483647 w 874"/>
                <a:gd name="T5" fmla="*/ 2147483647 h 538"/>
                <a:gd name="T6" fmla="*/ 2147483647 w 874"/>
                <a:gd name="T7" fmla="*/ 2147483647 h 538"/>
                <a:gd name="T8" fmla="*/ 2147483647 w 874"/>
                <a:gd name="T9" fmla="*/ 2147483647 h 538"/>
                <a:gd name="T10" fmla="*/ 2147483647 w 874"/>
                <a:gd name="T11" fmla="*/ 2147483647 h 538"/>
                <a:gd name="T12" fmla="*/ 2147483647 w 874"/>
                <a:gd name="T13" fmla="*/ 2147483647 h 538"/>
                <a:gd name="T14" fmla="*/ 2147483647 w 874"/>
                <a:gd name="T15" fmla="*/ 2147483647 h 538"/>
                <a:gd name="T16" fmla="*/ 2147483647 w 874"/>
                <a:gd name="T17" fmla="*/ 2147483647 h 538"/>
                <a:gd name="T18" fmla="*/ 2147483647 w 874"/>
                <a:gd name="T19" fmla="*/ 2147483647 h 538"/>
                <a:gd name="T20" fmla="*/ 2147483647 w 874"/>
                <a:gd name="T21" fmla="*/ 2147483647 h 538"/>
                <a:gd name="T22" fmla="*/ 2147483647 w 874"/>
                <a:gd name="T23" fmla="*/ 2147483647 h 538"/>
                <a:gd name="T24" fmla="*/ 2147483647 w 874"/>
                <a:gd name="T25" fmla="*/ 2147483647 h 538"/>
                <a:gd name="T26" fmla="*/ 2147483647 w 874"/>
                <a:gd name="T27" fmla="*/ 2147483647 h 538"/>
                <a:gd name="T28" fmla="*/ 2147483647 w 874"/>
                <a:gd name="T29" fmla="*/ 2147483647 h 538"/>
                <a:gd name="T30" fmla="*/ 2147483647 w 874"/>
                <a:gd name="T31" fmla="*/ 2147483647 h 538"/>
                <a:gd name="T32" fmla="*/ 2147483647 w 874"/>
                <a:gd name="T33" fmla="*/ 2147483647 h 538"/>
                <a:gd name="T34" fmla="*/ 2147483647 w 874"/>
                <a:gd name="T35" fmla="*/ 2147483647 h 538"/>
                <a:gd name="T36" fmla="*/ 2147483647 w 874"/>
                <a:gd name="T37" fmla="*/ 2147483647 h 538"/>
                <a:gd name="T38" fmla="*/ 2147483647 w 874"/>
                <a:gd name="T39" fmla="*/ 2147483647 h 538"/>
                <a:gd name="T40" fmla="*/ 2147483647 w 874"/>
                <a:gd name="T41" fmla="*/ 2147483647 h 538"/>
                <a:gd name="T42" fmla="*/ 2147483647 w 874"/>
                <a:gd name="T43" fmla="*/ 2147483647 h 538"/>
                <a:gd name="T44" fmla="*/ 2147483647 w 874"/>
                <a:gd name="T45" fmla="*/ 2147483647 h 538"/>
                <a:gd name="T46" fmla="*/ 2147483647 w 874"/>
                <a:gd name="T47" fmla="*/ 2147483647 h 538"/>
                <a:gd name="T48" fmla="*/ 2147483647 w 874"/>
                <a:gd name="T49" fmla="*/ 0 h 538"/>
                <a:gd name="T50" fmla="*/ 0 w 874"/>
                <a:gd name="T51" fmla="*/ 2147483647 h 538"/>
                <a:gd name="T52" fmla="*/ 2147483647 w 874"/>
                <a:gd name="T53" fmla="*/ 2147483647 h 538"/>
                <a:gd name="T54" fmla="*/ 2147483647 w 874"/>
                <a:gd name="T55" fmla="*/ 2147483647 h 538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w 874"/>
                <a:gd name="T85" fmla="*/ 0 h 538"/>
                <a:gd name="T86" fmla="*/ 874 w 874"/>
                <a:gd name="T87" fmla="*/ 538 h 538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T84" t="T85" r="T86" b="T87"/>
              <a:pathLst>
                <a:path w="874" h="538">
                  <a:moveTo>
                    <a:pt x="15" y="137"/>
                  </a:moveTo>
                  <a:lnTo>
                    <a:pt x="17" y="159"/>
                  </a:lnTo>
                  <a:lnTo>
                    <a:pt x="9" y="163"/>
                  </a:lnTo>
                  <a:lnTo>
                    <a:pt x="34" y="187"/>
                  </a:lnTo>
                  <a:lnTo>
                    <a:pt x="61" y="252"/>
                  </a:lnTo>
                  <a:lnTo>
                    <a:pt x="70" y="309"/>
                  </a:lnTo>
                  <a:lnTo>
                    <a:pt x="75" y="340"/>
                  </a:lnTo>
                  <a:lnTo>
                    <a:pt x="55" y="370"/>
                  </a:lnTo>
                  <a:lnTo>
                    <a:pt x="69" y="383"/>
                  </a:lnTo>
                  <a:lnTo>
                    <a:pt x="104" y="364"/>
                  </a:lnTo>
                  <a:lnTo>
                    <a:pt x="128" y="466"/>
                  </a:lnTo>
                  <a:lnTo>
                    <a:pt x="144" y="470"/>
                  </a:lnTo>
                  <a:lnTo>
                    <a:pt x="147" y="499"/>
                  </a:lnTo>
                  <a:lnTo>
                    <a:pt x="159" y="514"/>
                  </a:lnTo>
                  <a:lnTo>
                    <a:pt x="193" y="511"/>
                  </a:lnTo>
                  <a:lnTo>
                    <a:pt x="265" y="513"/>
                  </a:lnTo>
                  <a:lnTo>
                    <a:pt x="296" y="526"/>
                  </a:lnTo>
                  <a:lnTo>
                    <a:pt x="305" y="473"/>
                  </a:lnTo>
                  <a:lnTo>
                    <a:pt x="543" y="508"/>
                  </a:lnTo>
                  <a:lnTo>
                    <a:pt x="834" y="538"/>
                  </a:lnTo>
                  <a:lnTo>
                    <a:pt x="844" y="440"/>
                  </a:lnTo>
                  <a:lnTo>
                    <a:pt x="874" y="126"/>
                  </a:lnTo>
                  <a:lnTo>
                    <a:pt x="486" y="82"/>
                  </a:lnTo>
                  <a:lnTo>
                    <a:pt x="294" y="51"/>
                  </a:lnTo>
                  <a:lnTo>
                    <a:pt x="23" y="0"/>
                  </a:lnTo>
                  <a:lnTo>
                    <a:pt x="0" y="101"/>
                  </a:lnTo>
                  <a:lnTo>
                    <a:pt x="15" y="137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9163" name="Freeform 12"/>
            <p:cNvSpPr>
              <a:spLocks/>
            </p:cNvSpPr>
            <p:nvPr/>
          </p:nvSpPr>
          <p:spPr bwMode="auto">
            <a:xfrm>
              <a:off x="2128838" y="3633788"/>
              <a:ext cx="889000" cy="1063625"/>
            </a:xfrm>
            <a:custGeom>
              <a:avLst/>
              <a:gdLst>
                <a:gd name="T0" fmla="*/ 2147483647 w 582"/>
                <a:gd name="T1" fmla="*/ 2147483647 h 652"/>
                <a:gd name="T2" fmla="*/ 2147483647 w 582"/>
                <a:gd name="T3" fmla="*/ 2147483647 h 652"/>
                <a:gd name="T4" fmla="*/ 2147483647 w 582"/>
                <a:gd name="T5" fmla="*/ 2147483647 h 652"/>
                <a:gd name="T6" fmla="*/ 2147483647 w 582"/>
                <a:gd name="T7" fmla="*/ 2147483647 h 652"/>
                <a:gd name="T8" fmla="*/ 2147483647 w 582"/>
                <a:gd name="T9" fmla="*/ 2147483647 h 652"/>
                <a:gd name="T10" fmla="*/ 2147483647 w 582"/>
                <a:gd name="T11" fmla="*/ 2147483647 h 652"/>
                <a:gd name="T12" fmla="*/ 2147483647 w 582"/>
                <a:gd name="T13" fmla="*/ 2147483647 h 652"/>
                <a:gd name="T14" fmla="*/ 2147483647 w 582"/>
                <a:gd name="T15" fmla="*/ 2147483647 h 652"/>
                <a:gd name="T16" fmla="*/ 2147483647 w 582"/>
                <a:gd name="T17" fmla="*/ 2147483647 h 652"/>
                <a:gd name="T18" fmla="*/ 2147483647 w 582"/>
                <a:gd name="T19" fmla="*/ 2147483647 h 652"/>
                <a:gd name="T20" fmla="*/ 2147483647 w 582"/>
                <a:gd name="T21" fmla="*/ 0 h 652"/>
                <a:gd name="T22" fmla="*/ 2147483647 w 582"/>
                <a:gd name="T23" fmla="*/ 2147483647 h 652"/>
                <a:gd name="T24" fmla="*/ 2147483647 w 582"/>
                <a:gd name="T25" fmla="*/ 2147483647 h 652"/>
                <a:gd name="T26" fmla="*/ 2147483647 w 582"/>
                <a:gd name="T27" fmla="*/ 2147483647 h 652"/>
                <a:gd name="T28" fmla="*/ 2147483647 w 582"/>
                <a:gd name="T29" fmla="*/ 2147483647 h 652"/>
                <a:gd name="T30" fmla="*/ 2147483647 w 582"/>
                <a:gd name="T31" fmla="*/ 2147483647 h 652"/>
                <a:gd name="T32" fmla="*/ 0 w 582"/>
                <a:gd name="T33" fmla="*/ 2147483647 h 652"/>
                <a:gd name="T34" fmla="*/ 2147483647 w 582"/>
                <a:gd name="T35" fmla="*/ 2147483647 h 652"/>
                <a:gd name="T36" fmla="*/ 2147483647 w 582"/>
                <a:gd name="T37" fmla="*/ 2147483647 h 652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w 582"/>
                <a:gd name="T58" fmla="*/ 0 h 652"/>
                <a:gd name="T59" fmla="*/ 582 w 582"/>
                <a:gd name="T60" fmla="*/ 652 h 652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T57" t="T58" r="T59" b="T60"/>
              <a:pathLst>
                <a:path w="582" h="652">
                  <a:moveTo>
                    <a:pt x="37" y="415"/>
                  </a:moveTo>
                  <a:lnTo>
                    <a:pt x="22" y="390"/>
                  </a:lnTo>
                  <a:lnTo>
                    <a:pt x="29" y="354"/>
                  </a:lnTo>
                  <a:lnTo>
                    <a:pt x="68" y="292"/>
                  </a:lnTo>
                  <a:lnTo>
                    <a:pt x="96" y="276"/>
                  </a:lnTo>
                  <a:lnTo>
                    <a:pt x="80" y="254"/>
                  </a:lnTo>
                  <a:lnTo>
                    <a:pt x="68" y="193"/>
                  </a:lnTo>
                  <a:lnTo>
                    <a:pt x="81" y="84"/>
                  </a:lnTo>
                  <a:lnTo>
                    <a:pt x="101" y="78"/>
                  </a:lnTo>
                  <a:lnTo>
                    <a:pt x="133" y="98"/>
                  </a:lnTo>
                  <a:lnTo>
                    <a:pt x="162" y="0"/>
                  </a:lnTo>
                  <a:lnTo>
                    <a:pt x="582" y="70"/>
                  </a:lnTo>
                  <a:lnTo>
                    <a:pt x="494" y="652"/>
                  </a:lnTo>
                  <a:lnTo>
                    <a:pt x="365" y="634"/>
                  </a:lnTo>
                  <a:lnTo>
                    <a:pt x="285" y="612"/>
                  </a:lnTo>
                  <a:lnTo>
                    <a:pt x="120" y="547"/>
                  </a:lnTo>
                  <a:lnTo>
                    <a:pt x="0" y="447"/>
                  </a:lnTo>
                  <a:lnTo>
                    <a:pt x="37" y="415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9164" name="Freeform 13"/>
            <p:cNvSpPr>
              <a:spLocks/>
            </p:cNvSpPr>
            <p:nvPr/>
          </p:nvSpPr>
          <p:spPr bwMode="auto">
            <a:xfrm>
              <a:off x="2859088" y="2357438"/>
              <a:ext cx="917575" cy="781050"/>
            </a:xfrm>
            <a:custGeom>
              <a:avLst/>
              <a:gdLst>
                <a:gd name="T0" fmla="*/ 0 w 600"/>
                <a:gd name="T1" fmla="*/ 2147483647 h 479"/>
                <a:gd name="T2" fmla="*/ 2147483647 w 600"/>
                <a:gd name="T3" fmla="*/ 0 h 479"/>
                <a:gd name="T4" fmla="*/ 2147483647 w 600"/>
                <a:gd name="T5" fmla="*/ 2147483647 h 479"/>
                <a:gd name="T6" fmla="*/ 2147483647 w 600"/>
                <a:gd name="T7" fmla="*/ 2147483647 h 479"/>
                <a:gd name="T8" fmla="*/ 2147483647 w 600"/>
                <a:gd name="T9" fmla="*/ 2147483647 h 479"/>
                <a:gd name="T10" fmla="*/ 2147483647 w 600"/>
                <a:gd name="T11" fmla="*/ 2147483647 h 479"/>
                <a:gd name="T12" fmla="*/ 2147483647 w 600"/>
                <a:gd name="T13" fmla="*/ 2147483647 h 479"/>
                <a:gd name="T14" fmla="*/ 0 w 600"/>
                <a:gd name="T15" fmla="*/ 2147483647 h 479"/>
                <a:gd name="T16" fmla="*/ 0 w 600"/>
                <a:gd name="T17" fmla="*/ 2147483647 h 479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600"/>
                <a:gd name="T28" fmla="*/ 0 h 479"/>
                <a:gd name="T29" fmla="*/ 600 w 600"/>
                <a:gd name="T30" fmla="*/ 479 h 479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600" h="479">
                  <a:moveTo>
                    <a:pt x="0" y="411"/>
                  </a:moveTo>
                  <a:lnTo>
                    <a:pt x="71" y="0"/>
                  </a:lnTo>
                  <a:lnTo>
                    <a:pt x="309" y="35"/>
                  </a:lnTo>
                  <a:lnTo>
                    <a:pt x="600" y="65"/>
                  </a:lnTo>
                  <a:lnTo>
                    <a:pt x="580" y="273"/>
                  </a:lnTo>
                  <a:lnTo>
                    <a:pt x="561" y="479"/>
                  </a:lnTo>
                  <a:lnTo>
                    <a:pt x="161" y="436"/>
                  </a:lnTo>
                  <a:lnTo>
                    <a:pt x="0" y="411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9165" name="Freeform 14"/>
            <p:cNvSpPr>
              <a:spLocks/>
            </p:cNvSpPr>
            <p:nvPr/>
          </p:nvSpPr>
          <p:spPr bwMode="auto">
            <a:xfrm>
              <a:off x="3009900" y="3070225"/>
              <a:ext cx="950913" cy="774700"/>
            </a:xfrm>
            <a:custGeom>
              <a:avLst/>
              <a:gdLst>
                <a:gd name="T0" fmla="*/ 2147483647 w 623"/>
                <a:gd name="T1" fmla="*/ 0 h 475"/>
                <a:gd name="T2" fmla="*/ 2147483647 w 623"/>
                <a:gd name="T3" fmla="*/ 2147483647 h 475"/>
                <a:gd name="T4" fmla="*/ 2147483647 w 623"/>
                <a:gd name="T5" fmla="*/ 2147483647 h 475"/>
                <a:gd name="T6" fmla="*/ 2147483647 w 623"/>
                <a:gd name="T7" fmla="*/ 2147483647 h 475"/>
                <a:gd name="T8" fmla="*/ 2147483647 w 623"/>
                <a:gd name="T9" fmla="*/ 2147483647 h 475"/>
                <a:gd name="T10" fmla="*/ 2147483647 w 623"/>
                <a:gd name="T11" fmla="*/ 2147483647 h 475"/>
                <a:gd name="T12" fmla="*/ 2147483647 w 623"/>
                <a:gd name="T13" fmla="*/ 2147483647 h 475"/>
                <a:gd name="T14" fmla="*/ 0 w 623"/>
                <a:gd name="T15" fmla="*/ 2147483647 h 475"/>
                <a:gd name="T16" fmla="*/ 2147483647 w 623"/>
                <a:gd name="T17" fmla="*/ 0 h 475"/>
                <a:gd name="T18" fmla="*/ 2147483647 w 623"/>
                <a:gd name="T19" fmla="*/ 0 h 475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623"/>
                <a:gd name="T31" fmla="*/ 0 h 475"/>
                <a:gd name="T32" fmla="*/ 623 w 623"/>
                <a:gd name="T33" fmla="*/ 475 h 475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623" h="475">
                  <a:moveTo>
                    <a:pt x="62" y="0"/>
                  </a:moveTo>
                  <a:lnTo>
                    <a:pt x="462" y="43"/>
                  </a:lnTo>
                  <a:lnTo>
                    <a:pt x="623" y="58"/>
                  </a:lnTo>
                  <a:lnTo>
                    <a:pt x="615" y="160"/>
                  </a:lnTo>
                  <a:lnTo>
                    <a:pt x="594" y="475"/>
                  </a:lnTo>
                  <a:lnTo>
                    <a:pt x="513" y="469"/>
                  </a:lnTo>
                  <a:lnTo>
                    <a:pt x="257" y="447"/>
                  </a:lnTo>
                  <a:lnTo>
                    <a:pt x="0" y="415"/>
                  </a:lnTo>
                  <a:lnTo>
                    <a:pt x="62" y="0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9166" name="Freeform 15"/>
            <p:cNvSpPr>
              <a:spLocks/>
            </p:cNvSpPr>
            <p:nvPr/>
          </p:nvSpPr>
          <p:spPr bwMode="auto">
            <a:xfrm>
              <a:off x="2876550" y="3748088"/>
              <a:ext cx="917575" cy="966787"/>
            </a:xfrm>
            <a:custGeom>
              <a:avLst/>
              <a:gdLst>
                <a:gd name="T0" fmla="*/ 2147483647 w 601"/>
                <a:gd name="T1" fmla="*/ 2147483647 h 592"/>
                <a:gd name="T2" fmla="*/ 2147483647 w 601"/>
                <a:gd name="T3" fmla="*/ 2147483647 h 592"/>
                <a:gd name="T4" fmla="*/ 2147483647 w 601"/>
                <a:gd name="T5" fmla="*/ 2147483647 h 592"/>
                <a:gd name="T6" fmla="*/ 2147483647 w 601"/>
                <a:gd name="T7" fmla="*/ 2147483647 h 592"/>
                <a:gd name="T8" fmla="*/ 2147483647 w 601"/>
                <a:gd name="T9" fmla="*/ 2147483647 h 592"/>
                <a:gd name="T10" fmla="*/ 2147483647 w 601"/>
                <a:gd name="T11" fmla="*/ 2147483647 h 592"/>
                <a:gd name="T12" fmla="*/ 2147483647 w 601"/>
                <a:gd name="T13" fmla="*/ 2147483647 h 592"/>
                <a:gd name="T14" fmla="*/ 2147483647 w 601"/>
                <a:gd name="T15" fmla="*/ 0 h 592"/>
                <a:gd name="T16" fmla="*/ 0 w 601"/>
                <a:gd name="T17" fmla="*/ 2147483647 h 592"/>
                <a:gd name="T18" fmla="*/ 2147483647 w 601"/>
                <a:gd name="T19" fmla="*/ 2147483647 h 592"/>
                <a:gd name="T20" fmla="*/ 2147483647 w 601"/>
                <a:gd name="T21" fmla="*/ 2147483647 h 592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601"/>
                <a:gd name="T34" fmla="*/ 0 h 592"/>
                <a:gd name="T35" fmla="*/ 601 w 601"/>
                <a:gd name="T36" fmla="*/ 592 h 592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601" h="592">
                  <a:moveTo>
                    <a:pt x="76" y="592"/>
                  </a:moveTo>
                  <a:lnTo>
                    <a:pt x="84" y="548"/>
                  </a:lnTo>
                  <a:lnTo>
                    <a:pt x="234" y="567"/>
                  </a:lnTo>
                  <a:lnTo>
                    <a:pt x="226" y="545"/>
                  </a:lnTo>
                  <a:lnTo>
                    <a:pt x="552" y="575"/>
                  </a:lnTo>
                  <a:lnTo>
                    <a:pt x="601" y="54"/>
                  </a:lnTo>
                  <a:lnTo>
                    <a:pt x="345" y="32"/>
                  </a:lnTo>
                  <a:lnTo>
                    <a:pt x="88" y="0"/>
                  </a:lnTo>
                  <a:lnTo>
                    <a:pt x="0" y="582"/>
                  </a:lnTo>
                  <a:lnTo>
                    <a:pt x="76" y="592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9167" name="Freeform 16"/>
            <p:cNvSpPr>
              <a:spLocks/>
            </p:cNvSpPr>
            <p:nvPr/>
          </p:nvSpPr>
          <p:spPr bwMode="auto">
            <a:xfrm>
              <a:off x="3219450" y="3927475"/>
              <a:ext cx="1824038" cy="1822450"/>
            </a:xfrm>
            <a:custGeom>
              <a:avLst/>
              <a:gdLst>
                <a:gd name="T0" fmla="*/ 0 w 1195"/>
                <a:gd name="T1" fmla="*/ 2147483647 h 1116"/>
                <a:gd name="T2" fmla="*/ 2147483647 w 1195"/>
                <a:gd name="T3" fmla="*/ 2147483647 h 1116"/>
                <a:gd name="T4" fmla="*/ 2147483647 w 1195"/>
                <a:gd name="T5" fmla="*/ 0 h 1116"/>
                <a:gd name="T6" fmla="*/ 2147483647 w 1195"/>
                <a:gd name="T7" fmla="*/ 2147483647 h 1116"/>
                <a:gd name="T8" fmla="*/ 2147483647 w 1195"/>
                <a:gd name="T9" fmla="*/ 2147483647 h 1116"/>
                <a:gd name="T10" fmla="*/ 2147483647 w 1195"/>
                <a:gd name="T11" fmla="*/ 2147483647 h 1116"/>
                <a:gd name="T12" fmla="*/ 2147483647 w 1195"/>
                <a:gd name="T13" fmla="*/ 2147483647 h 1116"/>
                <a:gd name="T14" fmla="*/ 2147483647 w 1195"/>
                <a:gd name="T15" fmla="*/ 2147483647 h 1116"/>
                <a:gd name="T16" fmla="*/ 2147483647 w 1195"/>
                <a:gd name="T17" fmla="*/ 2147483647 h 1116"/>
                <a:gd name="T18" fmla="*/ 2147483647 w 1195"/>
                <a:gd name="T19" fmla="*/ 2147483647 h 1116"/>
                <a:gd name="T20" fmla="*/ 2147483647 w 1195"/>
                <a:gd name="T21" fmla="*/ 2147483647 h 1116"/>
                <a:gd name="T22" fmla="*/ 2147483647 w 1195"/>
                <a:gd name="T23" fmla="*/ 2147483647 h 1116"/>
                <a:gd name="T24" fmla="*/ 2147483647 w 1195"/>
                <a:gd name="T25" fmla="*/ 2147483647 h 1116"/>
                <a:gd name="T26" fmla="*/ 2147483647 w 1195"/>
                <a:gd name="T27" fmla="*/ 2147483647 h 1116"/>
                <a:gd name="T28" fmla="*/ 2147483647 w 1195"/>
                <a:gd name="T29" fmla="*/ 2147483647 h 1116"/>
                <a:gd name="T30" fmla="*/ 2147483647 w 1195"/>
                <a:gd name="T31" fmla="*/ 2147483647 h 1116"/>
                <a:gd name="T32" fmla="*/ 2147483647 w 1195"/>
                <a:gd name="T33" fmla="*/ 2147483647 h 1116"/>
                <a:gd name="T34" fmla="*/ 2147483647 w 1195"/>
                <a:gd name="T35" fmla="*/ 2147483647 h 1116"/>
                <a:gd name="T36" fmla="*/ 2147483647 w 1195"/>
                <a:gd name="T37" fmla="*/ 2147483647 h 1116"/>
                <a:gd name="T38" fmla="*/ 2147483647 w 1195"/>
                <a:gd name="T39" fmla="*/ 2147483647 h 1116"/>
                <a:gd name="T40" fmla="*/ 2147483647 w 1195"/>
                <a:gd name="T41" fmla="*/ 2147483647 h 1116"/>
                <a:gd name="T42" fmla="*/ 2147483647 w 1195"/>
                <a:gd name="T43" fmla="*/ 2147483647 h 1116"/>
                <a:gd name="T44" fmla="*/ 2147483647 w 1195"/>
                <a:gd name="T45" fmla="*/ 2147483647 h 1116"/>
                <a:gd name="T46" fmla="*/ 2147483647 w 1195"/>
                <a:gd name="T47" fmla="*/ 2147483647 h 1116"/>
                <a:gd name="T48" fmla="*/ 2147483647 w 1195"/>
                <a:gd name="T49" fmla="*/ 2147483647 h 1116"/>
                <a:gd name="T50" fmla="*/ 2147483647 w 1195"/>
                <a:gd name="T51" fmla="*/ 2147483647 h 1116"/>
                <a:gd name="T52" fmla="*/ 2147483647 w 1195"/>
                <a:gd name="T53" fmla="*/ 2147483647 h 1116"/>
                <a:gd name="T54" fmla="*/ 2147483647 w 1195"/>
                <a:gd name="T55" fmla="*/ 2147483647 h 1116"/>
                <a:gd name="T56" fmla="*/ 2147483647 w 1195"/>
                <a:gd name="T57" fmla="*/ 2147483647 h 1116"/>
                <a:gd name="T58" fmla="*/ 2147483647 w 1195"/>
                <a:gd name="T59" fmla="*/ 2147483647 h 1116"/>
                <a:gd name="T60" fmla="*/ 2147483647 w 1195"/>
                <a:gd name="T61" fmla="*/ 2147483647 h 1116"/>
                <a:gd name="T62" fmla="*/ 2147483647 w 1195"/>
                <a:gd name="T63" fmla="*/ 2147483647 h 1116"/>
                <a:gd name="T64" fmla="*/ 2147483647 w 1195"/>
                <a:gd name="T65" fmla="*/ 2147483647 h 1116"/>
                <a:gd name="T66" fmla="*/ 2147483647 w 1195"/>
                <a:gd name="T67" fmla="*/ 2147483647 h 1116"/>
                <a:gd name="T68" fmla="*/ 2147483647 w 1195"/>
                <a:gd name="T69" fmla="*/ 2147483647 h 1116"/>
                <a:gd name="T70" fmla="*/ 2147483647 w 1195"/>
                <a:gd name="T71" fmla="*/ 2147483647 h 1116"/>
                <a:gd name="T72" fmla="*/ 2147483647 w 1195"/>
                <a:gd name="T73" fmla="*/ 2147483647 h 1116"/>
                <a:gd name="T74" fmla="*/ 2147483647 w 1195"/>
                <a:gd name="T75" fmla="*/ 2147483647 h 1116"/>
                <a:gd name="T76" fmla="*/ 2147483647 w 1195"/>
                <a:gd name="T77" fmla="*/ 2147483647 h 1116"/>
                <a:gd name="T78" fmla="*/ 2147483647 w 1195"/>
                <a:gd name="T79" fmla="*/ 2147483647 h 1116"/>
                <a:gd name="T80" fmla="*/ 2147483647 w 1195"/>
                <a:gd name="T81" fmla="*/ 2147483647 h 1116"/>
                <a:gd name="T82" fmla="*/ 2147483647 w 1195"/>
                <a:gd name="T83" fmla="*/ 2147483647 h 1116"/>
                <a:gd name="T84" fmla="*/ 2147483647 w 1195"/>
                <a:gd name="T85" fmla="*/ 2147483647 h 1116"/>
                <a:gd name="T86" fmla="*/ 2147483647 w 1195"/>
                <a:gd name="T87" fmla="*/ 2147483647 h 1116"/>
                <a:gd name="T88" fmla="*/ 2147483647 w 1195"/>
                <a:gd name="T89" fmla="*/ 2147483647 h 1116"/>
                <a:gd name="T90" fmla="*/ 2147483647 w 1195"/>
                <a:gd name="T91" fmla="*/ 2147483647 h 1116"/>
                <a:gd name="T92" fmla="*/ 2147483647 w 1195"/>
                <a:gd name="T93" fmla="*/ 2147483647 h 1116"/>
                <a:gd name="T94" fmla="*/ 2147483647 w 1195"/>
                <a:gd name="T95" fmla="*/ 2147483647 h 1116"/>
                <a:gd name="T96" fmla="*/ 2147483647 w 1195"/>
                <a:gd name="T97" fmla="*/ 2147483647 h 1116"/>
                <a:gd name="T98" fmla="*/ 2147483647 w 1195"/>
                <a:gd name="T99" fmla="*/ 2147483647 h 1116"/>
                <a:gd name="T100" fmla="*/ 0 w 1195"/>
                <a:gd name="T101" fmla="*/ 2147483647 h 1116"/>
                <a:gd name="T102" fmla="*/ 0 w 1195"/>
                <a:gd name="T103" fmla="*/ 2147483647 h 111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1195"/>
                <a:gd name="T157" fmla="*/ 0 h 1116"/>
                <a:gd name="T158" fmla="*/ 1195 w 1195"/>
                <a:gd name="T159" fmla="*/ 1116 h 1116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1195" h="1116">
                  <a:moveTo>
                    <a:pt x="0" y="436"/>
                  </a:moveTo>
                  <a:lnTo>
                    <a:pt x="326" y="466"/>
                  </a:lnTo>
                  <a:lnTo>
                    <a:pt x="370" y="0"/>
                  </a:lnTo>
                  <a:lnTo>
                    <a:pt x="629" y="14"/>
                  </a:lnTo>
                  <a:lnTo>
                    <a:pt x="620" y="215"/>
                  </a:lnTo>
                  <a:lnTo>
                    <a:pt x="645" y="236"/>
                  </a:lnTo>
                  <a:lnTo>
                    <a:pt x="669" y="236"/>
                  </a:lnTo>
                  <a:lnTo>
                    <a:pt x="688" y="255"/>
                  </a:lnTo>
                  <a:lnTo>
                    <a:pt x="727" y="264"/>
                  </a:lnTo>
                  <a:lnTo>
                    <a:pt x="804" y="298"/>
                  </a:lnTo>
                  <a:lnTo>
                    <a:pt x="819" y="283"/>
                  </a:lnTo>
                  <a:lnTo>
                    <a:pt x="869" y="311"/>
                  </a:lnTo>
                  <a:lnTo>
                    <a:pt x="936" y="311"/>
                  </a:lnTo>
                  <a:lnTo>
                    <a:pt x="982" y="298"/>
                  </a:lnTo>
                  <a:lnTo>
                    <a:pt x="1045" y="286"/>
                  </a:lnTo>
                  <a:lnTo>
                    <a:pt x="1104" y="317"/>
                  </a:lnTo>
                  <a:lnTo>
                    <a:pt x="1113" y="327"/>
                  </a:lnTo>
                  <a:lnTo>
                    <a:pt x="1143" y="327"/>
                  </a:lnTo>
                  <a:lnTo>
                    <a:pt x="1150" y="492"/>
                  </a:lnTo>
                  <a:lnTo>
                    <a:pt x="1195" y="573"/>
                  </a:lnTo>
                  <a:lnTo>
                    <a:pt x="1178" y="637"/>
                  </a:lnTo>
                  <a:lnTo>
                    <a:pt x="1181" y="690"/>
                  </a:lnTo>
                  <a:lnTo>
                    <a:pt x="1161" y="716"/>
                  </a:lnTo>
                  <a:lnTo>
                    <a:pt x="1169" y="725"/>
                  </a:lnTo>
                  <a:lnTo>
                    <a:pt x="1120" y="740"/>
                  </a:lnTo>
                  <a:lnTo>
                    <a:pt x="1082" y="744"/>
                  </a:lnTo>
                  <a:lnTo>
                    <a:pt x="1089" y="715"/>
                  </a:lnTo>
                  <a:lnTo>
                    <a:pt x="1067" y="731"/>
                  </a:lnTo>
                  <a:lnTo>
                    <a:pt x="1068" y="765"/>
                  </a:lnTo>
                  <a:lnTo>
                    <a:pt x="1043" y="799"/>
                  </a:lnTo>
                  <a:lnTo>
                    <a:pt x="902" y="870"/>
                  </a:lnTo>
                  <a:lnTo>
                    <a:pt x="856" y="915"/>
                  </a:lnTo>
                  <a:lnTo>
                    <a:pt x="816" y="1013"/>
                  </a:lnTo>
                  <a:lnTo>
                    <a:pt x="850" y="1116"/>
                  </a:lnTo>
                  <a:lnTo>
                    <a:pt x="816" y="1116"/>
                  </a:lnTo>
                  <a:lnTo>
                    <a:pt x="664" y="1063"/>
                  </a:lnTo>
                  <a:lnTo>
                    <a:pt x="648" y="1019"/>
                  </a:lnTo>
                  <a:lnTo>
                    <a:pt x="632" y="998"/>
                  </a:lnTo>
                  <a:lnTo>
                    <a:pt x="626" y="940"/>
                  </a:lnTo>
                  <a:lnTo>
                    <a:pt x="597" y="918"/>
                  </a:lnTo>
                  <a:lnTo>
                    <a:pt x="514" y="763"/>
                  </a:lnTo>
                  <a:lnTo>
                    <a:pt x="476" y="734"/>
                  </a:lnTo>
                  <a:lnTo>
                    <a:pt x="464" y="709"/>
                  </a:lnTo>
                  <a:lnTo>
                    <a:pt x="343" y="703"/>
                  </a:lnTo>
                  <a:lnTo>
                    <a:pt x="280" y="777"/>
                  </a:lnTo>
                  <a:lnTo>
                    <a:pt x="170" y="700"/>
                  </a:lnTo>
                  <a:lnTo>
                    <a:pt x="138" y="594"/>
                  </a:lnTo>
                  <a:lnTo>
                    <a:pt x="34" y="494"/>
                  </a:lnTo>
                  <a:lnTo>
                    <a:pt x="21" y="463"/>
                  </a:lnTo>
                  <a:lnTo>
                    <a:pt x="8" y="458"/>
                  </a:lnTo>
                  <a:lnTo>
                    <a:pt x="0" y="436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9168" name="Freeform 17"/>
            <p:cNvSpPr>
              <a:spLocks/>
            </p:cNvSpPr>
            <p:nvPr/>
          </p:nvSpPr>
          <p:spPr bwMode="auto">
            <a:xfrm>
              <a:off x="3781425" y="1787525"/>
              <a:ext cx="857250" cy="561975"/>
            </a:xfrm>
            <a:custGeom>
              <a:avLst/>
              <a:gdLst>
                <a:gd name="T0" fmla="*/ 2147483647 w 562"/>
                <a:gd name="T1" fmla="*/ 0 h 343"/>
                <a:gd name="T2" fmla="*/ 2147483647 w 562"/>
                <a:gd name="T3" fmla="*/ 2147483647 h 343"/>
                <a:gd name="T4" fmla="*/ 2147483647 w 562"/>
                <a:gd name="T5" fmla="*/ 2147483647 h 343"/>
                <a:gd name="T6" fmla="*/ 2147483647 w 562"/>
                <a:gd name="T7" fmla="*/ 2147483647 h 343"/>
                <a:gd name="T8" fmla="*/ 2147483647 w 562"/>
                <a:gd name="T9" fmla="*/ 2147483647 h 343"/>
                <a:gd name="T10" fmla="*/ 2147483647 w 562"/>
                <a:gd name="T11" fmla="*/ 2147483647 h 343"/>
                <a:gd name="T12" fmla="*/ 2147483647 w 562"/>
                <a:gd name="T13" fmla="*/ 2147483647 h 343"/>
                <a:gd name="T14" fmla="*/ 0 w 562"/>
                <a:gd name="T15" fmla="*/ 2147483647 h 343"/>
                <a:gd name="T16" fmla="*/ 2147483647 w 562"/>
                <a:gd name="T17" fmla="*/ 0 h 343"/>
                <a:gd name="T18" fmla="*/ 2147483647 w 562"/>
                <a:gd name="T19" fmla="*/ 0 h 343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562"/>
                <a:gd name="T31" fmla="*/ 0 h 343"/>
                <a:gd name="T32" fmla="*/ 562 w 562"/>
                <a:gd name="T33" fmla="*/ 343 h 343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562" h="343">
                  <a:moveTo>
                    <a:pt x="30" y="0"/>
                  </a:moveTo>
                  <a:lnTo>
                    <a:pt x="519" y="26"/>
                  </a:lnTo>
                  <a:lnTo>
                    <a:pt x="522" y="111"/>
                  </a:lnTo>
                  <a:lnTo>
                    <a:pt x="544" y="180"/>
                  </a:lnTo>
                  <a:lnTo>
                    <a:pt x="547" y="270"/>
                  </a:lnTo>
                  <a:lnTo>
                    <a:pt x="562" y="343"/>
                  </a:lnTo>
                  <a:lnTo>
                    <a:pt x="266" y="334"/>
                  </a:lnTo>
                  <a:lnTo>
                    <a:pt x="0" y="314"/>
                  </a:lnTo>
                  <a:lnTo>
                    <a:pt x="30" y="0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9169" name="Freeform 18"/>
            <p:cNvSpPr>
              <a:spLocks/>
            </p:cNvSpPr>
            <p:nvPr/>
          </p:nvSpPr>
          <p:spPr bwMode="auto">
            <a:xfrm>
              <a:off x="3736975" y="2301875"/>
              <a:ext cx="917575" cy="638175"/>
            </a:xfrm>
            <a:custGeom>
              <a:avLst/>
              <a:gdLst>
                <a:gd name="T0" fmla="*/ 2147483647 w 601"/>
                <a:gd name="T1" fmla="*/ 0 h 390"/>
                <a:gd name="T2" fmla="*/ 2147483647 w 601"/>
                <a:gd name="T3" fmla="*/ 2147483647 h 390"/>
                <a:gd name="T4" fmla="*/ 2147483647 w 601"/>
                <a:gd name="T5" fmla="*/ 2147483647 h 390"/>
                <a:gd name="T6" fmla="*/ 2147483647 w 601"/>
                <a:gd name="T7" fmla="*/ 2147483647 h 390"/>
                <a:gd name="T8" fmla="*/ 2147483647 w 601"/>
                <a:gd name="T9" fmla="*/ 2147483647 h 390"/>
                <a:gd name="T10" fmla="*/ 2147483647 w 601"/>
                <a:gd name="T11" fmla="*/ 2147483647 h 390"/>
                <a:gd name="T12" fmla="*/ 2147483647 w 601"/>
                <a:gd name="T13" fmla="*/ 2147483647 h 390"/>
                <a:gd name="T14" fmla="*/ 2147483647 w 601"/>
                <a:gd name="T15" fmla="*/ 2147483647 h 390"/>
                <a:gd name="T16" fmla="*/ 2147483647 w 601"/>
                <a:gd name="T17" fmla="*/ 2147483647 h 390"/>
                <a:gd name="T18" fmla="*/ 2147483647 w 601"/>
                <a:gd name="T19" fmla="*/ 2147483647 h 390"/>
                <a:gd name="T20" fmla="*/ 2147483647 w 601"/>
                <a:gd name="T21" fmla="*/ 2147483647 h 390"/>
                <a:gd name="T22" fmla="*/ 2147483647 w 601"/>
                <a:gd name="T23" fmla="*/ 2147483647 h 390"/>
                <a:gd name="T24" fmla="*/ 2147483647 w 601"/>
                <a:gd name="T25" fmla="*/ 2147483647 h 390"/>
                <a:gd name="T26" fmla="*/ 2147483647 w 601"/>
                <a:gd name="T27" fmla="*/ 2147483647 h 390"/>
                <a:gd name="T28" fmla="*/ 2147483647 w 601"/>
                <a:gd name="T29" fmla="*/ 2147483647 h 390"/>
                <a:gd name="T30" fmla="*/ 2147483647 w 601"/>
                <a:gd name="T31" fmla="*/ 2147483647 h 390"/>
                <a:gd name="T32" fmla="*/ 0 w 601"/>
                <a:gd name="T33" fmla="*/ 2147483647 h 390"/>
                <a:gd name="T34" fmla="*/ 2147483647 w 601"/>
                <a:gd name="T35" fmla="*/ 0 h 390"/>
                <a:gd name="T36" fmla="*/ 2147483647 w 601"/>
                <a:gd name="T37" fmla="*/ 0 h 390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w 601"/>
                <a:gd name="T58" fmla="*/ 0 h 390"/>
                <a:gd name="T59" fmla="*/ 601 w 601"/>
                <a:gd name="T60" fmla="*/ 390 h 390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T57" t="T58" r="T59" b="T60"/>
              <a:pathLst>
                <a:path w="601" h="390">
                  <a:moveTo>
                    <a:pt x="30" y="0"/>
                  </a:moveTo>
                  <a:lnTo>
                    <a:pt x="296" y="20"/>
                  </a:lnTo>
                  <a:lnTo>
                    <a:pt x="592" y="29"/>
                  </a:lnTo>
                  <a:lnTo>
                    <a:pt x="571" y="65"/>
                  </a:lnTo>
                  <a:lnTo>
                    <a:pt x="601" y="92"/>
                  </a:lnTo>
                  <a:lnTo>
                    <a:pt x="599" y="284"/>
                  </a:lnTo>
                  <a:lnTo>
                    <a:pt x="587" y="282"/>
                  </a:lnTo>
                  <a:lnTo>
                    <a:pt x="587" y="307"/>
                  </a:lnTo>
                  <a:lnTo>
                    <a:pt x="598" y="325"/>
                  </a:lnTo>
                  <a:lnTo>
                    <a:pt x="592" y="344"/>
                  </a:lnTo>
                  <a:lnTo>
                    <a:pt x="598" y="390"/>
                  </a:lnTo>
                  <a:lnTo>
                    <a:pt x="584" y="384"/>
                  </a:lnTo>
                  <a:lnTo>
                    <a:pt x="568" y="368"/>
                  </a:lnTo>
                  <a:lnTo>
                    <a:pt x="516" y="350"/>
                  </a:lnTo>
                  <a:lnTo>
                    <a:pt x="464" y="353"/>
                  </a:lnTo>
                  <a:lnTo>
                    <a:pt x="434" y="331"/>
                  </a:lnTo>
                  <a:lnTo>
                    <a:pt x="0" y="306"/>
                  </a:lnTo>
                  <a:lnTo>
                    <a:pt x="30" y="0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9170" name="Freeform 19"/>
            <p:cNvSpPr>
              <a:spLocks/>
            </p:cNvSpPr>
            <p:nvPr/>
          </p:nvSpPr>
          <p:spPr bwMode="auto">
            <a:xfrm>
              <a:off x="3708400" y="2800350"/>
              <a:ext cx="1074738" cy="557213"/>
            </a:xfrm>
            <a:custGeom>
              <a:avLst/>
              <a:gdLst>
                <a:gd name="T0" fmla="*/ 2147483647 w 704"/>
                <a:gd name="T1" fmla="*/ 0 h 340"/>
                <a:gd name="T2" fmla="*/ 2147483647 w 704"/>
                <a:gd name="T3" fmla="*/ 2147483647 h 340"/>
                <a:gd name="T4" fmla="*/ 2147483647 w 704"/>
                <a:gd name="T5" fmla="*/ 2147483647 h 340"/>
                <a:gd name="T6" fmla="*/ 2147483647 w 704"/>
                <a:gd name="T7" fmla="*/ 2147483647 h 340"/>
                <a:gd name="T8" fmla="*/ 2147483647 w 704"/>
                <a:gd name="T9" fmla="*/ 2147483647 h 340"/>
                <a:gd name="T10" fmla="*/ 2147483647 w 704"/>
                <a:gd name="T11" fmla="*/ 2147483647 h 340"/>
                <a:gd name="T12" fmla="*/ 2147483647 w 704"/>
                <a:gd name="T13" fmla="*/ 2147483647 h 340"/>
                <a:gd name="T14" fmla="*/ 2147483647 w 704"/>
                <a:gd name="T15" fmla="*/ 2147483647 h 340"/>
                <a:gd name="T16" fmla="*/ 2147483647 w 704"/>
                <a:gd name="T17" fmla="*/ 2147483647 h 340"/>
                <a:gd name="T18" fmla="*/ 2147483647 w 704"/>
                <a:gd name="T19" fmla="*/ 2147483647 h 340"/>
                <a:gd name="T20" fmla="*/ 2147483647 w 704"/>
                <a:gd name="T21" fmla="*/ 2147483647 h 340"/>
                <a:gd name="T22" fmla="*/ 2147483647 w 704"/>
                <a:gd name="T23" fmla="*/ 2147483647 h 340"/>
                <a:gd name="T24" fmla="*/ 2147483647 w 704"/>
                <a:gd name="T25" fmla="*/ 2147483647 h 340"/>
                <a:gd name="T26" fmla="*/ 2147483647 w 704"/>
                <a:gd name="T27" fmla="*/ 2147483647 h 340"/>
                <a:gd name="T28" fmla="*/ 2147483647 w 704"/>
                <a:gd name="T29" fmla="*/ 2147483647 h 340"/>
                <a:gd name="T30" fmla="*/ 2147483647 w 704"/>
                <a:gd name="T31" fmla="*/ 2147483647 h 340"/>
                <a:gd name="T32" fmla="*/ 2147483647 w 704"/>
                <a:gd name="T33" fmla="*/ 2147483647 h 340"/>
                <a:gd name="T34" fmla="*/ 0 w 704"/>
                <a:gd name="T35" fmla="*/ 2147483647 h 340"/>
                <a:gd name="T36" fmla="*/ 2147483647 w 704"/>
                <a:gd name="T37" fmla="*/ 0 h 340"/>
                <a:gd name="T38" fmla="*/ 2147483647 w 704"/>
                <a:gd name="T39" fmla="*/ 0 h 340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w 704"/>
                <a:gd name="T61" fmla="*/ 0 h 340"/>
                <a:gd name="T62" fmla="*/ 704 w 704"/>
                <a:gd name="T63" fmla="*/ 340 h 340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T60" t="T61" r="T62" b="T63"/>
              <a:pathLst>
                <a:path w="704" h="340">
                  <a:moveTo>
                    <a:pt x="19" y="0"/>
                  </a:moveTo>
                  <a:lnTo>
                    <a:pt x="453" y="25"/>
                  </a:lnTo>
                  <a:lnTo>
                    <a:pt x="483" y="47"/>
                  </a:lnTo>
                  <a:lnTo>
                    <a:pt x="535" y="44"/>
                  </a:lnTo>
                  <a:lnTo>
                    <a:pt x="587" y="62"/>
                  </a:lnTo>
                  <a:lnTo>
                    <a:pt x="603" y="78"/>
                  </a:lnTo>
                  <a:lnTo>
                    <a:pt x="617" y="84"/>
                  </a:lnTo>
                  <a:lnTo>
                    <a:pt x="640" y="149"/>
                  </a:lnTo>
                  <a:lnTo>
                    <a:pt x="640" y="168"/>
                  </a:lnTo>
                  <a:lnTo>
                    <a:pt x="657" y="199"/>
                  </a:lnTo>
                  <a:lnTo>
                    <a:pt x="664" y="247"/>
                  </a:lnTo>
                  <a:lnTo>
                    <a:pt x="660" y="262"/>
                  </a:lnTo>
                  <a:lnTo>
                    <a:pt x="670" y="278"/>
                  </a:lnTo>
                  <a:lnTo>
                    <a:pt x="704" y="340"/>
                  </a:lnTo>
                  <a:lnTo>
                    <a:pt x="391" y="337"/>
                  </a:lnTo>
                  <a:lnTo>
                    <a:pt x="153" y="323"/>
                  </a:lnTo>
                  <a:lnTo>
                    <a:pt x="161" y="221"/>
                  </a:lnTo>
                  <a:lnTo>
                    <a:pt x="0" y="206"/>
                  </a:lnTo>
                  <a:lnTo>
                    <a:pt x="19" y="0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9171" name="Freeform 20"/>
            <p:cNvSpPr>
              <a:spLocks/>
            </p:cNvSpPr>
            <p:nvPr/>
          </p:nvSpPr>
          <p:spPr bwMode="auto">
            <a:xfrm>
              <a:off x="3908425" y="3330575"/>
              <a:ext cx="968375" cy="539750"/>
            </a:xfrm>
            <a:custGeom>
              <a:avLst/>
              <a:gdLst>
                <a:gd name="T0" fmla="*/ 2147483647 w 635"/>
                <a:gd name="T1" fmla="*/ 0 h 331"/>
                <a:gd name="T2" fmla="*/ 2147483647 w 635"/>
                <a:gd name="T3" fmla="*/ 2147483647 h 331"/>
                <a:gd name="T4" fmla="*/ 2147483647 w 635"/>
                <a:gd name="T5" fmla="*/ 2147483647 h 331"/>
                <a:gd name="T6" fmla="*/ 2147483647 w 635"/>
                <a:gd name="T7" fmla="*/ 2147483647 h 331"/>
                <a:gd name="T8" fmla="*/ 2147483647 w 635"/>
                <a:gd name="T9" fmla="*/ 2147483647 h 331"/>
                <a:gd name="T10" fmla="*/ 2147483647 w 635"/>
                <a:gd name="T11" fmla="*/ 2147483647 h 331"/>
                <a:gd name="T12" fmla="*/ 2147483647 w 635"/>
                <a:gd name="T13" fmla="*/ 2147483647 h 331"/>
                <a:gd name="T14" fmla="*/ 2147483647 w 635"/>
                <a:gd name="T15" fmla="*/ 2147483647 h 331"/>
                <a:gd name="T16" fmla="*/ 2147483647 w 635"/>
                <a:gd name="T17" fmla="*/ 2147483647 h 331"/>
                <a:gd name="T18" fmla="*/ 2147483647 w 635"/>
                <a:gd name="T19" fmla="*/ 2147483647 h 331"/>
                <a:gd name="T20" fmla="*/ 2147483647 w 635"/>
                <a:gd name="T21" fmla="*/ 2147483647 h 331"/>
                <a:gd name="T22" fmla="*/ 2147483647 w 635"/>
                <a:gd name="T23" fmla="*/ 2147483647 h 331"/>
                <a:gd name="T24" fmla="*/ 0 w 635"/>
                <a:gd name="T25" fmla="*/ 2147483647 h 331"/>
                <a:gd name="T26" fmla="*/ 2147483647 w 635"/>
                <a:gd name="T27" fmla="*/ 0 h 331"/>
                <a:gd name="T28" fmla="*/ 2147483647 w 635"/>
                <a:gd name="T29" fmla="*/ 0 h 331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635"/>
                <a:gd name="T46" fmla="*/ 0 h 331"/>
                <a:gd name="T47" fmla="*/ 635 w 635"/>
                <a:gd name="T48" fmla="*/ 331 h 331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635" h="331">
                  <a:moveTo>
                    <a:pt x="21" y="0"/>
                  </a:moveTo>
                  <a:lnTo>
                    <a:pt x="259" y="14"/>
                  </a:lnTo>
                  <a:lnTo>
                    <a:pt x="572" y="17"/>
                  </a:lnTo>
                  <a:lnTo>
                    <a:pt x="589" y="32"/>
                  </a:lnTo>
                  <a:lnTo>
                    <a:pt x="599" y="29"/>
                  </a:lnTo>
                  <a:lnTo>
                    <a:pt x="611" y="45"/>
                  </a:lnTo>
                  <a:lnTo>
                    <a:pt x="601" y="45"/>
                  </a:lnTo>
                  <a:lnTo>
                    <a:pt x="590" y="66"/>
                  </a:lnTo>
                  <a:lnTo>
                    <a:pt x="615" y="101"/>
                  </a:lnTo>
                  <a:lnTo>
                    <a:pt x="635" y="107"/>
                  </a:lnTo>
                  <a:lnTo>
                    <a:pt x="632" y="330"/>
                  </a:lnTo>
                  <a:lnTo>
                    <a:pt x="363" y="331"/>
                  </a:lnTo>
                  <a:lnTo>
                    <a:pt x="0" y="315"/>
                  </a:lnTo>
                  <a:lnTo>
                    <a:pt x="21" y="0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9172" name="Freeform 21"/>
            <p:cNvSpPr>
              <a:spLocks/>
            </p:cNvSpPr>
            <p:nvPr/>
          </p:nvSpPr>
          <p:spPr bwMode="auto">
            <a:xfrm>
              <a:off x="3778250" y="3835400"/>
              <a:ext cx="1123950" cy="608013"/>
            </a:xfrm>
            <a:custGeom>
              <a:avLst/>
              <a:gdLst>
                <a:gd name="T0" fmla="*/ 2147483647 w 737"/>
                <a:gd name="T1" fmla="*/ 0 h 372"/>
                <a:gd name="T2" fmla="*/ 2147483647 w 737"/>
                <a:gd name="T3" fmla="*/ 2147483647 h 372"/>
                <a:gd name="T4" fmla="*/ 2147483647 w 737"/>
                <a:gd name="T5" fmla="*/ 2147483647 h 372"/>
                <a:gd name="T6" fmla="*/ 2147483647 w 737"/>
                <a:gd name="T7" fmla="*/ 2147483647 h 372"/>
                <a:gd name="T8" fmla="*/ 2147483647 w 737"/>
                <a:gd name="T9" fmla="*/ 2147483647 h 372"/>
                <a:gd name="T10" fmla="*/ 2147483647 w 737"/>
                <a:gd name="T11" fmla="*/ 2147483647 h 372"/>
                <a:gd name="T12" fmla="*/ 2147483647 w 737"/>
                <a:gd name="T13" fmla="*/ 2147483647 h 372"/>
                <a:gd name="T14" fmla="*/ 2147483647 w 737"/>
                <a:gd name="T15" fmla="*/ 2147483647 h 372"/>
                <a:gd name="T16" fmla="*/ 2147483647 w 737"/>
                <a:gd name="T17" fmla="*/ 2147483647 h 372"/>
                <a:gd name="T18" fmla="*/ 2147483647 w 737"/>
                <a:gd name="T19" fmla="*/ 2147483647 h 372"/>
                <a:gd name="T20" fmla="*/ 2147483647 w 737"/>
                <a:gd name="T21" fmla="*/ 2147483647 h 372"/>
                <a:gd name="T22" fmla="*/ 2147483647 w 737"/>
                <a:gd name="T23" fmla="*/ 2147483647 h 372"/>
                <a:gd name="T24" fmla="*/ 2147483647 w 737"/>
                <a:gd name="T25" fmla="*/ 2147483647 h 372"/>
                <a:gd name="T26" fmla="*/ 2147483647 w 737"/>
                <a:gd name="T27" fmla="*/ 2147483647 h 372"/>
                <a:gd name="T28" fmla="*/ 2147483647 w 737"/>
                <a:gd name="T29" fmla="*/ 2147483647 h 372"/>
                <a:gd name="T30" fmla="*/ 2147483647 w 737"/>
                <a:gd name="T31" fmla="*/ 2147483647 h 372"/>
                <a:gd name="T32" fmla="*/ 2147483647 w 737"/>
                <a:gd name="T33" fmla="*/ 2147483647 h 372"/>
                <a:gd name="T34" fmla="*/ 2147483647 w 737"/>
                <a:gd name="T35" fmla="*/ 2147483647 h 372"/>
                <a:gd name="T36" fmla="*/ 2147483647 w 737"/>
                <a:gd name="T37" fmla="*/ 2147483647 h 372"/>
                <a:gd name="T38" fmla="*/ 0 w 737"/>
                <a:gd name="T39" fmla="*/ 2147483647 h 372"/>
                <a:gd name="T40" fmla="*/ 2147483647 w 737"/>
                <a:gd name="T41" fmla="*/ 0 h 372"/>
                <a:gd name="T42" fmla="*/ 2147483647 w 737"/>
                <a:gd name="T43" fmla="*/ 0 h 372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w 737"/>
                <a:gd name="T67" fmla="*/ 0 h 372"/>
                <a:gd name="T68" fmla="*/ 737 w 737"/>
                <a:gd name="T69" fmla="*/ 372 h 372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T66" t="T67" r="T68" b="T69"/>
              <a:pathLst>
                <a:path w="737" h="372">
                  <a:moveTo>
                    <a:pt x="5" y="0"/>
                  </a:moveTo>
                  <a:lnTo>
                    <a:pt x="86" y="6"/>
                  </a:lnTo>
                  <a:lnTo>
                    <a:pt x="449" y="22"/>
                  </a:lnTo>
                  <a:lnTo>
                    <a:pt x="718" y="21"/>
                  </a:lnTo>
                  <a:lnTo>
                    <a:pt x="721" y="75"/>
                  </a:lnTo>
                  <a:lnTo>
                    <a:pt x="737" y="190"/>
                  </a:lnTo>
                  <a:lnTo>
                    <a:pt x="734" y="372"/>
                  </a:lnTo>
                  <a:lnTo>
                    <a:pt x="675" y="341"/>
                  </a:lnTo>
                  <a:lnTo>
                    <a:pt x="612" y="353"/>
                  </a:lnTo>
                  <a:lnTo>
                    <a:pt x="566" y="366"/>
                  </a:lnTo>
                  <a:lnTo>
                    <a:pt x="499" y="366"/>
                  </a:lnTo>
                  <a:lnTo>
                    <a:pt x="449" y="338"/>
                  </a:lnTo>
                  <a:lnTo>
                    <a:pt x="434" y="353"/>
                  </a:lnTo>
                  <a:lnTo>
                    <a:pt x="357" y="319"/>
                  </a:lnTo>
                  <a:lnTo>
                    <a:pt x="318" y="310"/>
                  </a:lnTo>
                  <a:lnTo>
                    <a:pt x="299" y="291"/>
                  </a:lnTo>
                  <a:lnTo>
                    <a:pt x="275" y="291"/>
                  </a:lnTo>
                  <a:lnTo>
                    <a:pt x="250" y="270"/>
                  </a:lnTo>
                  <a:lnTo>
                    <a:pt x="259" y="69"/>
                  </a:lnTo>
                  <a:lnTo>
                    <a:pt x="0" y="55"/>
                  </a:lnTo>
                  <a:lnTo>
                    <a:pt x="5" y="0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9173" name="Freeform 22"/>
            <p:cNvSpPr>
              <a:spLocks/>
            </p:cNvSpPr>
            <p:nvPr/>
          </p:nvSpPr>
          <p:spPr bwMode="auto">
            <a:xfrm>
              <a:off x="4567238" y="1787525"/>
              <a:ext cx="846137" cy="979488"/>
            </a:xfrm>
            <a:custGeom>
              <a:avLst/>
              <a:gdLst>
                <a:gd name="T0" fmla="*/ 2147483647 w 555"/>
                <a:gd name="T1" fmla="*/ 2147483647 h 600"/>
                <a:gd name="T2" fmla="*/ 2147483647 w 555"/>
                <a:gd name="T3" fmla="*/ 2147483647 h 600"/>
                <a:gd name="T4" fmla="*/ 2147483647 w 555"/>
                <a:gd name="T5" fmla="*/ 2147483647 h 600"/>
                <a:gd name="T6" fmla="*/ 2147483647 w 555"/>
                <a:gd name="T7" fmla="*/ 2147483647 h 600"/>
                <a:gd name="T8" fmla="*/ 2147483647 w 555"/>
                <a:gd name="T9" fmla="*/ 2147483647 h 600"/>
                <a:gd name="T10" fmla="*/ 2147483647 w 555"/>
                <a:gd name="T11" fmla="*/ 2147483647 h 600"/>
                <a:gd name="T12" fmla="*/ 2147483647 w 555"/>
                <a:gd name="T13" fmla="*/ 2147483647 h 600"/>
                <a:gd name="T14" fmla="*/ 2147483647 w 555"/>
                <a:gd name="T15" fmla="*/ 2147483647 h 600"/>
                <a:gd name="T16" fmla="*/ 2147483647 w 555"/>
                <a:gd name="T17" fmla="*/ 2147483647 h 600"/>
                <a:gd name="T18" fmla="*/ 2147483647 w 555"/>
                <a:gd name="T19" fmla="*/ 2147483647 h 600"/>
                <a:gd name="T20" fmla="*/ 2147483647 w 555"/>
                <a:gd name="T21" fmla="*/ 2147483647 h 600"/>
                <a:gd name="T22" fmla="*/ 2147483647 w 555"/>
                <a:gd name="T23" fmla="*/ 2147483647 h 600"/>
                <a:gd name="T24" fmla="*/ 2147483647 w 555"/>
                <a:gd name="T25" fmla="*/ 2147483647 h 600"/>
                <a:gd name="T26" fmla="*/ 2147483647 w 555"/>
                <a:gd name="T27" fmla="*/ 2147483647 h 600"/>
                <a:gd name="T28" fmla="*/ 2147483647 w 555"/>
                <a:gd name="T29" fmla="*/ 2147483647 h 600"/>
                <a:gd name="T30" fmla="*/ 2147483647 w 555"/>
                <a:gd name="T31" fmla="*/ 2147483647 h 600"/>
                <a:gd name="T32" fmla="*/ 2147483647 w 555"/>
                <a:gd name="T33" fmla="*/ 2147483647 h 600"/>
                <a:gd name="T34" fmla="*/ 2147483647 w 555"/>
                <a:gd name="T35" fmla="*/ 2147483647 h 600"/>
                <a:gd name="T36" fmla="*/ 2147483647 w 555"/>
                <a:gd name="T37" fmla="*/ 2147483647 h 600"/>
                <a:gd name="T38" fmla="*/ 2147483647 w 555"/>
                <a:gd name="T39" fmla="*/ 2147483647 h 600"/>
                <a:gd name="T40" fmla="*/ 2147483647 w 555"/>
                <a:gd name="T41" fmla="*/ 2147483647 h 600"/>
                <a:gd name="T42" fmla="*/ 2147483647 w 555"/>
                <a:gd name="T43" fmla="*/ 2147483647 h 600"/>
                <a:gd name="T44" fmla="*/ 2147483647 w 555"/>
                <a:gd name="T45" fmla="*/ 2147483647 h 600"/>
                <a:gd name="T46" fmla="*/ 2147483647 w 555"/>
                <a:gd name="T47" fmla="*/ 2147483647 h 600"/>
                <a:gd name="T48" fmla="*/ 2147483647 w 555"/>
                <a:gd name="T49" fmla="*/ 2147483647 h 600"/>
                <a:gd name="T50" fmla="*/ 2147483647 w 555"/>
                <a:gd name="T51" fmla="*/ 2147483647 h 600"/>
                <a:gd name="T52" fmla="*/ 2147483647 w 555"/>
                <a:gd name="T53" fmla="*/ 2147483647 h 600"/>
                <a:gd name="T54" fmla="*/ 2147483647 w 555"/>
                <a:gd name="T55" fmla="*/ 0 h 600"/>
                <a:gd name="T56" fmla="*/ 2147483647 w 555"/>
                <a:gd name="T57" fmla="*/ 0 h 600"/>
                <a:gd name="T58" fmla="*/ 2147483647 w 555"/>
                <a:gd name="T59" fmla="*/ 2147483647 h 600"/>
                <a:gd name="T60" fmla="*/ 0 w 555"/>
                <a:gd name="T61" fmla="*/ 2147483647 h 600"/>
                <a:gd name="T62" fmla="*/ 2147483647 w 555"/>
                <a:gd name="T63" fmla="*/ 2147483647 h 600"/>
                <a:gd name="T64" fmla="*/ 2147483647 w 555"/>
                <a:gd name="T65" fmla="*/ 2147483647 h 600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555"/>
                <a:gd name="T100" fmla="*/ 0 h 600"/>
                <a:gd name="T101" fmla="*/ 555 w 555"/>
                <a:gd name="T102" fmla="*/ 600 h 600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555" h="600">
                  <a:moveTo>
                    <a:pt x="3" y="113"/>
                  </a:moveTo>
                  <a:lnTo>
                    <a:pt x="25" y="182"/>
                  </a:lnTo>
                  <a:lnTo>
                    <a:pt x="28" y="272"/>
                  </a:lnTo>
                  <a:lnTo>
                    <a:pt x="43" y="345"/>
                  </a:lnTo>
                  <a:lnTo>
                    <a:pt x="22" y="381"/>
                  </a:lnTo>
                  <a:lnTo>
                    <a:pt x="52" y="408"/>
                  </a:lnTo>
                  <a:lnTo>
                    <a:pt x="50" y="600"/>
                  </a:lnTo>
                  <a:lnTo>
                    <a:pt x="456" y="591"/>
                  </a:lnTo>
                  <a:lnTo>
                    <a:pt x="448" y="554"/>
                  </a:lnTo>
                  <a:lnTo>
                    <a:pt x="405" y="521"/>
                  </a:lnTo>
                  <a:lnTo>
                    <a:pt x="383" y="498"/>
                  </a:lnTo>
                  <a:lnTo>
                    <a:pt x="328" y="464"/>
                  </a:lnTo>
                  <a:lnTo>
                    <a:pt x="329" y="408"/>
                  </a:lnTo>
                  <a:lnTo>
                    <a:pt x="318" y="373"/>
                  </a:lnTo>
                  <a:lnTo>
                    <a:pt x="364" y="319"/>
                  </a:lnTo>
                  <a:lnTo>
                    <a:pt x="361" y="266"/>
                  </a:lnTo>
                  <a:lnTo>
                    <a:pt x="435" y="212"/>
                  </a:lnTo>
                  <a:lnTo>
                    <a:pt x="453" y="181"/>
                  </a:lnTo>
                  <a:lnTo>
                    <a:pt x="555" y="128"/>
                  </a:lnTo>
                  <a:lnTo>
                    <a:pt x="509" y="109"/>
                  </a:lnTo>
                  <a:lnTo>
                    <a:pt x="469" y="112"/>
                  </a:lnTo>
                  <a:lnTo>
                    <a:pt x="460" y="97"/>
                  </a:lnTo>
                  <a:lnTo>
                    <a:pt x="386" y="95"/>
                  </a:lnTo>
                  <a:lnTo>
                    <a:pt x="337" y="82"/>
                  </a:lnTo>
                  <a:lnTo>
                    <a:pt x="234" y="72"/>
                  </a:lnTo>
                  <a:lnTo>
                    <a:pt x="220" y="54"/>
                  </a:lnTo>
                  <a:lnTo>
                    <a:pt x="178" y="36"/>
                  </a:lnTo>
                  <a:lnTo>
                    <a:pt x="171" y="0"/>
                  </a:lnTo>
                  <a:lnTo>
                    <a:pt x="144" y="0"/>
                  </a:lnTo>
                  <a:lnTo>
                    <a:pt x="144" y="28"/>
                  </a:lnTo>
                  <a:lnTo>
                    <a:pt x="0" y="28"/>
                  </a:lnTo>
                  <a:lnTo>
                    <a:pt x="3" y="113"/>
                  </a:lnTo>
                  <a:close/>
                </a:path>
              </a:pathLst>
            </a:custGeom>
            <a:no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9174" name="Freeform 23"/>
            <p:cNvSpPr>
              <a:spLocks/>
            </p:cNvSpPr>
            <p:nvPr/>
          </p:nvSpPr>
          <p:spPr bwMode="auto">
            <a:xfrm>
              <a:off x="4624388" y="2751138"/>
              <a:ext cx="777875" cy="534987"/>
            </a:xfrm>
            <a:custGeom>
              <a:avLst/>
              <a:gdLst>
                <a:gd name="T0" fmla="*/ 0 w 510"/>
                <a:gd name="T1" fmla="*/ 2147483647 h 327"/>
                <a:gd name="T2" fmla="*/ 2147483647 w 510"/>
                <a:gd name="T3" fmla="*/ 2147483647 h 327"/>
                <a:gd name="T4" fmla="*/ 2147483647 w 510"/>
                <a:gd name="T5" fmla="*/ 2147483647 h 327"/>
                <a:gd name="T6" fmla="*/ 2147483647 w 510"/>
                <a:gd name="T7" fmla="*/ 2147483647 h 327"/>
                <a:gd name="T8" fmla="*/ 2147483647 w 510"/>
                <a:gd name="T9" fmla="*/ 2147483647 h 327"/>
                <a:gd name="T10" fmla="*/ 2147483647 w 510"/>
                <a:gd name="T11" fmla="*/ 2147483647 h 327"/>
                <a:gd name="T12" fmla="*/ 2147483647 w 510"/>
                <a:gd name="T13" fmla="*/ 2147483647 h 327"/>
                <a:gd name="T14" fmla="*/ 2147483647 w 510"/>
                <a:gd name="T15" fmla="*/ 2147483647 h 327"/>
                <a:gd name="T16" fmla="*/ 2147483647 w 510"/>
                <a:gd name="T17" fmla="*/ 2147483647 h 327"/>
                <a:gd name="T18" fmla="*/ 2147483647 w 510"/>
                <a:gd name="T19" fmla="*/ 2147483647 h 327"/>
                <a:gd name="T20" fmla="*/ 2147483647 w 510"/>
                <a:gd name="T21" fmla="*/ 2147483647 h 327"/>
                <a:gd name="T22" fmla="*/ 2147483647 w 510"/>
                <a:gd name="T23" fmla="*/ 2147483647 h 327"/>
                <a:gd name="T24" fmla="*/ 2147483647 w 510"/>
                <a:gd name="T25" fmla="*/ 2147483647 h 327"/>
                <a:gd name="T26" fmla="*/ 2147483647 w 510"/>
                <a:gd name="T27" fmla="*/ 2147483647 h 327"/>
                <a:gd name="T28" fmla="*/ 2147483647 w 510"/>
                <a:gd name="T29" fmla="*/ 2147483647 h 327"/>
                <a:gd name="T30" fmla="*/ 2147483647 w 510"/>
                <a:gd name="T31" fmla="*/ 2147483647 h 327"/>
                <a:gd name="T32" fmla="*/ 2147483647 w 510"/>
                <a:gd name="T33" fmla="*/ 2147483647 h 327"/>
                <a:gd name="T34" fmla="*/ 2147483647 w 510"/>
                <a:gd name="T35" fmla="*/ 2147483647 h 327"/>
                <a:gd name="T36" fmla="*/ 2147483647 w 510"/>
                <a:gd name="T37" fmla="*/ 0 h 327"/>
                <a:gd name="T38" fmla="*/ 2147483647 w 510"/>
                <a:gd name="T39" fmla="*/ 2147483647 h 327"/>
                <a:gd name="T40" fmla="*/ 0 w 510"/>
                <a:gd name="T41" fmla="*/ 2147483647 h 327"/>
                <a:gd name="T42" fmla="*/ 0 w 510"/>
                <a:gd name="T43" fmla="*/ 2147483647 h 327"/>
                <a:gd name="T44" fmla="*/ 0 w 510"/>
                <a:gd name="T45" fmla="*/ 2147483647 h 327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w 510"/>
                <a:gd name="T70" fmla="*/ 0 h 327"/>
                <a:gd name="T71" fmla="*/ 510 w 510"/>
                <a:gd name="T72" fmla="*/ 327 h 327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T69" t="T70" r="T71" b="T72"/>
              <a:pathLst>
                <a:path w="510" h="327">
                  <a:moveTo>
                    <a:pt x="0" y="32"/>
                  </a:moveTo>
                  <a:lnTo>
                    <a:pt x="11" y="50"/>
                  </a:lnTo>
                  <a:lnTo>
                    <a:pt x="5" y="69"/>
                  </a:lnTo>
                  <a:lnTo>
                    <a:pt x="11" y="115"/>
                  </a:lnTo>
                  <a:lnTo>
                    <a:pt x="34" y="180"/>
                  </a:lnTo>
                  <a:lnTo>
                    <a:pt x="34" y="199"/>
                  </a:lnTo>
                  <a:lnTo>
                    <a:pt x="51" y="230"/>
                  </a:lnTo>
                  <a:lnTo>
                    <a:pt x="58" y="278"/>
                  </a:lnTo>
                  <a:lnTo>
                    <a:pt x="54" y="293"/>
                  </a:lnTo>
                  <a:lnTo>
                    <a:pt x="64" y="309"/>
                  </a:lnTo>
                  <a:lnTo>
                    <a:pt x="394" y="302"/>
                  </a:lnTo>
                  <a:lnTo>
                    <a:pt x="418" y="327"/>
                  </a:lnTo>
                  <a:lnTo>
                    <a:pt x="452" y="253"/>
                  </a:lnTo>
                  <a:lnTo>
                    <a:pt x="442" y="225"/>
                  </a:lnTo>
                  <a:lnTo>
                    <a:pt x="498" y="181"/>
                  </a:lnTo>
                  <a:lnTo>
                    <a:pt x="510" y="149"/>
                  </a:lnTo>
                  <a:lnTo>
                    <a:pt x="468" y="101"/>
                  </a:lnTo>
                  <a:lnTo>
                    <a:pt x="425" y="53"/>
                  </a:lnTo>
                  <a:lnTo>
                    <a:pt x="418" y="0"/>
                  </a:lnTo>
                  <a:lnTo>
                    <a:pt x="12" y="9"/>
                  </a:lnTo>
                  <a:lnTo>
                    <a:pt x="0" y="7"/>
                  </a:lnTo>
                  <a:lnTo>
                    <a:pt x="0" y="32"/>
                  </a:lnTo>
                  <a:close/>
                </a:path>
              </a:pathLst>
            </a:custGeom>
            <a:no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9175" name="Freeform 24"/>
            <p:cNvSpPr>
              <a:spLocks/>
            </p:cNvSpPr>
            <p:nvPr/>
          </p:nvSpPr>
          <p:spPr bwMode="auto">
            <a:xfrm>
              <a:off x="4719638" y="3246438"/>
              <a:ext cx="868362" cy="779462"/>
            </a:xfrm>
            <a:custGeom>
              <a:avLst/>
              <a:gdLst>
                <a:gd name="T0" fmla="*/ 2147483647 w 568"/>
                <a:gd name="T1" fmla="*/ 2147483647 h 478"/>
                <a:gd name="T2" fmla="*/ 2147483647 w 568"/>
                <a:gd name="T3" fmla="*/ 2147483647 h 478"/>
                <a:gd name="T4" fmla="*/ 2147483647 w 568"/>
                <a:gd name="T5" fmla="*/ 2147483647 h 478"/>
                <a:gd name="T6" fmla="*/ 2147483647 w 568"/>
                <a:gd name="T7" fmla="*/ 2147483647 h 478"/>
                <a:gd name="T8" fmla="*/ 2147483647 w 568"/>
                <a:gd name="T9" fmla="*/ 2147483647 h 478"/>
                <a:gd name="T10" fmla="*/ 2147483647 w 568"/>
                <a:gd name="T11" fmla="*/ 2147483647 h 478"/>
                <a:gd name="T12" fmla="*/ 2147483647 w 568"/>
                <a:gd name="T13" fmla="*/ 2147483647 h 478"/>
                <a:gd name="T14" fmla="*/ 2147483647 w 568"/>
                <a:gd name="T15" fmla="*/ 2147483647 h 478"/>
                <a:gd name="T16" fmla="*/ 2147483647 w 568"/>
                <a:gd name="T17" fmla="*/ 2147483647 h 478"/>
                <a:gd name="T18" fmla="*/ 2147483647 w 568"/>
                <a:gd name="T19" fmla="*/ 2147483647 h 478"/>
                <a:gd name="T20" fmla="*/ 2147483647 w 568"/>
                <a:gd name="T21" fmla="*/ 2147483647 h 478"/>
                <a:gd name="T22" fmla="*/ 2147483647 w 568"/>
                <a:gd name="T23" fmla="*/ 2147483647 h 478"/>
                <a:gd name="T24" fmla="*/ 2147483647 w 568"/>
                <a:gd name="T25" fmla="*/ 2147483647 h 478"/>
                <a:gd name="T26" fmla="*/ 2147483647 w 568"/>
                <a:gd name="T27" fmla="*/ 2147483647 h 478"/>
                <a:gd name="T28" fmla="*/ 2147483647 w 568"/>
                <a:gd name="T29" fmla="*/ 2147483647 h 478"/>
                <a:gd name="T30" fmla="*/ 2147483647 w 568"/>
                <a:gd name="T31" fmla="*/ 2147483647 h 478"/>
                <a:gd name="T32" fmla="*/ 2147483647 w 568"/>
                <a:gd name="T33" fmla="*/ 2147483647 h 478"/>
                <a:gd name="T34" fmla="*/ 2147483647 w 568"/>
                <a:gd name="T35" fmla="*/ 2147483647 h 478"/>
                <a:gd name="T36" fmla="*/ 2147483647 w 568"/>
                <a:gd name="T37" fmla="*/ 2147483647 h 478"/>
                <a:gd name="T38" fmla="*/ 2147483647 w 568"/>
                <a:gd name="T39" fmla="*/ 2147483647 h 478"/>
                <a:gd name="T40" fmla="*/ 2147483647 w 568"/>
                <a:gd name="T41" fmla="*/ 2147483647 h 478"/>
                <a:gd name="T42" fmla="*/ 2147483647 w 568"/>
                <a:gd name="T43" fmla="*/ 2147483647 h 478"/>
                <a:gd name="T44" fmla="*/ 2147483647 w 568"/>
                <a:gd name="T45" fmla="*/ 2147483647 h 478"/>
                <a:gd name="T46" fmla="*/ 2147483647 w 568"/>
                <a:gd name="T47" fmla="*/ 2147483647 h 478"/>
                <a:gd name="T48" fmla="*/ 2147483647 w 568"/>
                <a:gd name="T49" fmla="*/ 2147483647 h 478"/>
                <a:gd name="T50" fmla="*/ 2147483647 w 568"/>
                <a:gd name="T51" fmla="*/ 2147483647 h 478"/>
                <a:gd name="T52" fmla="*/ 2147483647 w 568"/>
                <a:gd name="T53" fmla="*/ 2147483647 h 478"/>
                <a:gd name="T54" fmla="*/ 2147483647 w 568"/>
                <a:gd name="T55" fmla="*/ 2147483647 h 478"/>
                <a:gd name="T56" fmla="*/ 2147483647 w 568"/>
                <a:gd name="T57" fmla="*/ 2147483647 h 478"/>
                <a:gd name="T58" fmla="*/ 2147483647 w 568"/>
                <a:gd name="T59" fmla="*/ 2147483647 h 478"/>
                <a:gd name="T60" fmla="*/ 2147483647 w 568"/>
                <a:gd name="T61" fmla="*/ 2147483647 h 478"/>
                <a:gd name="T62" fmla="*/ 2147483647 w 568"/>
                <a:gd name="T63" fmla="*/ 2147483647 h 478"/>
                <a:gd name="T64" fmla="*/ 2147483647 w 568"/>
                <a:gd name="T65" fmla="*/ 2147483647 h 478"/>
                <a:gd name="T66" fmla="*/ 2147483647 w 568"/>
                <a:gd name="T67" fmla="*/ 0 h 478"/>
                <a:gd name="T68" fmla="*/ 0 w 568"/>
                <a:gd name="T69" fmla="*/ 2147483647 h 478"/>
                <a:gd name="T70" fmla="*/ 2147483647 w 568"/>
                <a:gd name="T71" fmla="*/ 2147483647 h 478"/>
                <a:gd name="T72" fmla="*/ 2147483647 w 568"/>
                <a:gd name="T73" fmla="*/ 2147483647 h 478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w 568"/>
                <a:gd name="T112" fmla="*/ 0 h 478"/>
                <a:gd name="T113" fmla="*/ 568 w 568"/>
                <a:gd name="T114" fmla="*/ 478 h 478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T111" t="T112" r="T113" b="T114"/>
              <a:pathLst>
                <a:path w="568" h="478">
                  <a:moveTo>
                    <a:pt x="34" y="69"/>
                  </a:moveTo>
                  <a:lnTo>
                    <a:pt x="51" y="84"/>
                  </a:lnTo>
                  <a:lnTo>
                    <a:pt x="61" y="81"/>
                  </a:lnTo>
                  <a:lnTo>
                    <a:pt x="73" y="97"/>
                  </a:lnTo>
                  <a:lnTo>
                    <a:pt x="63" y="97"/>
                  </a:lnTo>
                  <a:lnTo>
                    <a:pt x="52" y="118"/>
                  </a:lnTo>
                  <a:lnTo>
                    <a:pt x="77" y="153"/>
                  </a:lnTo>
                  <a:lnTo>
                    <a:pt x="97" y="159"/>
                  </a:lnTo>
                  <a:lnTo>
                    <a:pt x="94" y="382"/>
                  </a:lnTo>
                  <a:lnTo>
                    <a:pt x="97" y="436"/>
                  </a:lnTo>
                  <a:lnTo>
                    <a:pt x="474" y="425"/>
                  </a:lnTo>
                  <a:lnTo>
                    <a:pt x="477" y="457"/>
                  </a:lnTo>
                  <a:lnTo>
                    <a:pt x="462" y="478"/>
                  </a:lnTo>
                  <a:lnTo>
                    <a:pt x="520" y="475"/>
                  </a:lnTo>
                  <a:lnTo>
                    <a:pt x="531" y="457"/>
                  </a:lnTo>
                  <a:lnTo>
                    <a:pt x="531" y="436"/>
                  </a:lnTo>
                  <a:lnTo>
                    <a:pt x="544" y="422"/>
                  </a:lnTo>
                  <a:lnTo>
                    <a:pt x="548" y="405"/>
                  </a:lnTo>
                  <a:lnTo>
                    <a:pt x="563" y="404"/>
                  </a:lnTo>
                  <a:lnTo>
                    <a:pt x="568" y="372"/>
                  </a:lnTo>
                  <a:lnTo>
                    <a:pt x="547" y="367"/>
                  </a:lnTo>
                  <a:lnTo>
                    <a:pt x="534" y="344"/>
                  </a:lnTo>
                  <a:lnTo>
                    <a:pt x="513" y="286"/>
                  </a:lnTo>
                  <a:lnTo>
                    <a:pt x="489" y="277"/>
                  </a:lnTo>
                  <a:lnTo>
                    <a:pt x="462" y="257"/>
                  </a:lnTo>
                  <a:lnTo>
                    <a:pt x="452" y="227"/>
                  </a:lnTo>
                  <a:lnTo>
                    <a:pt x="468" y="181"/>
                  </a:lnTo>
                  <a:lnTo>
                    <a:pt x="455" y="172"/>
                  </a:lnTo>
                  <a:lnTo>
                    <a:pt x="422" y="172"/>
                  </a:lnTo>
                  <a:lnTo>
                    <a:pt x="415" y="144"/>
                  </a:lnTo>
                  <a:lnTo>
                    <a:pt x="360" y="88"/>
                  </a:lnTo>
                  <a:lnTo>
                    <a:pt x="348" y="43"/>
                  </a:lnTo>
                  <a:lnTo>
                    <a:pt x="354" y="25"/>
                  </a:lnTo>
                  <a:lnTo>
                    <a:pt x="330" y="0"/>
                  </a:lnTo>
                  <a:lnTo>
                    <a:pt x="0" y="7"/>
                  </a:lnTo>
                  <a:lnTo>
                    <a:pt x="34" y="69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9176" name="Freeform 25"/>
            <p:cNvSpPr>
              <a:spLocks/>
            </p:cNvSpPr>
            <p:nvPr/>
          </p:nvSpPr>
          <p:spPr bwMode="auto">
            <a:xfrm>
              <a:off x="4868863" y="3938588"/>
              <a:ext cx="652462" cy="611187"/>
            </a:xfrm>
            <a:custGeom>
              <a:avLst/>
              <a:gdLst>
                <a:gd name="T0" fmla="*/ 2147483647 w 429"/>
                <a:gd name="T1" fmla="*/ 2147483647 h 373"/>
                <a:gd name="T2" fmla="*/ 2147483647 w 429"/>
                <a:gd name="T3" fmla="*/ 2147483647 h 373"/>
                <a:gd name="T4" fmla="*/ 2147483647 w 429"/>
                <a:gd name="T5" fmla="*/ 2147483647 h 373"/>
                <a:gd name="T6" fmla="*/ 2147483647 w 429"/>
                <a:gd name="T7" fmla="*/ 2147483647 h 373"/>
                <a:gd name="T8" fmla="*/ 2147483647 w 429"/>
                <a:gd name="T9" fmla="*/ 2147483647 h 373"/>
                <a:gd name="T10" fmla="*/ 2147483647 w 429"/>
                <a:gd name="T11" fmla="*/ 2147483647 h 373"/>
                <a:gd name="T12" fmla="*/ 2147483647 w 429"/>
                <a:gd name="T13" fmla="*/ 2147483647 h 373"/>
                <a:gd name="T14" fmla="*/ 2147483647 w 429"/>
                <a:gd name="T15" fmla="*/ 2147483647 h 373"/>
                <a:gd name="T16" fmla="*/ 2147483647 w 429"/>
                <a:gd name="T17" fmla="*/ 2147483647 h 373"/>
                <a:gd name="T18" fmla="*/ 2147483647 w 429"/>
                <a:gd name="T19" fmla="*/ 2147483647 h 373"/>
                <a:gd name="T20" fmla="*/ 2147483647 w 429"/>
                <a:gd name="T21" fmla="*/ 2147483647 h 373"/>
                <a:gd name="T22" fmla="*/ 2147483647 w 429"/>
                <a:gd name="T23" fmla="*/ 2147483647 h 373"/>
                <a:gd name="T24" fmla="*/ 2147483647 w 429"/>
                <a:gd name="T25" fmla="*/ 2147483647 h 373"/>
                <a:gd name="T26" fmla="*/ 2147483647 w 429"/>
                <a:gd name="T27" fmla="*/ 2147483647 h 373"/>
                <a:gd name="T28" fmla="*/ 2147483647 w 429"/>
                <a:gd name="T29" fmla="*/ 2147483647 h 373"/>
                <a:gd name="T30" fmla="*/ 2147483647 w 429"/>
                <a:gd name="T31" fmla="*/ 2147483647 h 373"/>
                <a:gd name="T32" fmla="*/ 2147483647 w 429"/>
                <a:gd name="T33" fmla="*/ 2147483647 h 373"/>
                <a:gd name="T34" fmla="*/ 2147483647 w 429"/>
                <a:gd name="T35" fmla="*/ 2147483647 h 373"/>
                <a:gd name="T36" fmla="*/ 2147483647 w 429"/>
                <a:gd name="T37" fmla="*/ 0 h 373"/>
                <a:gd name="T38" fmla="*/ 0 w 429"/>
                <a:gd name="T39" fmla="*/ 2147483647 h 373"/>
                <a:gd name="T40" fmla="*/ 2147483647 w 429"/>
                <a:gd name="T41" fmla="*/ 2147483647 h 373"/>
                <a:gd name="T42" fmla="*/ 2147483647 w 429"/>
                <a:gd name="T43" fmla="*/ 2147483647 h 373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w 429"/>
                <a:gd name="T67" fmla="*/ 0 h 373"/>
                <a:gd name="T68" fmla="*/ 429 w 429"/>
                <a:gd name="T69" fmla="*/ 373 h 373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T66" t="T67" r="T68" b="T69"/>
              <a:pathLst>
                <a:path w="429" h="373">
                  <a:moveTo>
                    <a:pt x="16" y="126"/>
                  </a:moveTo>
                  <a:lnTo>
                    <a:pt x="13" y="308"/>
                  </a:lnTo>
                  <a:lnTo>
                    <a:pt x="22" y="318"/>
                  </a:lnTo>
                  <a:lnTo>
                    <a:pt x="52" y="318"/>
                  </a:lnTo>
                  <a:lnTo>
                    <a:pt x="53" y="373"/>
                  </a:lnTo>
                  <a:lnTo>
                    <a:pt x="310" y="370"/>
                  </a:lnTo>
                  <a:lnTo>
                    <a:pt x="304" y="314"/>
                  </a:lnTo>
                  <a:lnTo>
                    <a:pt x="327" y="252"/>
                  </a:lnTo>
                  <a:lnTo>
                    <a:pt x="359" y="207"/>
                  </a:lnTo>
                  <a:lnTo>
                    <a:pt x="356" y="196"/>
                  </a:lnTo>
                  <a:lnTo>
                    <a:pt x="380" y="157"/>
                  </a:lnTo>
                  <a:lnTo>
                    <a:pt x="393" y="115"/>
                  </a:lnTo>
                  <a:lnTo>
                    <a:pt x="389" y="112"/>
                  </a:lnTo>
                  <a:lnTo>
                    <a:pt x="410" y="95"/>
                  </a:lnTo>
                  <a:lnTo>
                    <a:pt x="429" y="59"/>
                  </a:lnTo>
                  <a:lnTo>
                    <a:pt x="423" y="50"/>
                  </a:lnTo>
                  <a:lnTo>
                    <a:pt x="365" y="53"/>
                  </a:lnTo>
                  <a:lnTo>
                    <a:pt x="380" y="32"/>
                  </a:lnTo>
                  <a:lnTo>
                    <a:pt x="377" y="0"/>
                  </a:lnTo>
                  <a:lnTo>
                    <a:pt x="0" y="11"/>
                  </a:lnTo>
                  <a:lnTo>
                    <a:pt x="16" y="126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9177" name="Freeform 26"/>
            <p:cNvSpPr>
              <a:spLocks/>
            </p:cNvSpPr>
            <p:nvPr/>
          </p:nvSpPr>
          <p:spPr bwMode="auto">
            <a:xfrm>
              <a:off x="5322888" y="2060575"/>
              <a:ext cx="741362" cy="390525"/>
            </a:xfrm>
            <a:custGeom>
              <a:avLst/>
              <a:gdLst>
                <a:gd name="T0" fmla="*/ 2147483647 w 486"/>
                <a:gd name="T1" fmla="*/ 2147483647 h 240"/>
                <a:gd name="T2" fmla="*/ 2147483647 w 486"/>
                <a:gd name="T3" fmla="*/ 2147483647 h 240"/>
                <a:gd name="T4" fmla="*/ 2147483647 w 486"/>
                <a:gd name="T5" fmla="*/ 2147483647 h 240"/>
                <a:gd name="T6" fmla="*/ 2147483647 w 486"/>
                <a:gd name="T7" fmla="*/ 2147483647 h 240"/>
                <a:gd name="T8" fmla="*/ 2147483647 w 486"/>
                <a:gd name="T9" fmla="*/ 2147483647 h 240"/>
                <a:gd name="T10" fmla="*/ 2147483647 w 486"/>
                <a:gd name="T11" fmla="*/ 2147483647 h 240"/>
                <a:gd name="T12" fmla="*/ 2147483647 w 486"/>
                <a:gd name="T13" fmla="*/ 2147483647 h 240"/>
                <a:gd name="T14" fmla="*/ 2147483647 w 486"/>
                <a:gd name="T15" fmla="*/ 2147483647 h 240"/>
                <a:gd name="T16" fmla="*/ 2147483647 w 486"/>
                <a:gd name="T17" fmla="*/ 2147483647 h 240"/>
                <a:gd name="T18" fmla="*/ 2147483647 w 486"/>
                <a:gd name="T19" fmla="*/ 2147483647 h 240"/>
                <a:gd name="T20" fmla="*/ 2147483647 w 486"/>
                <a:gd name="T21" fmla="*/ 2147483647 h 240"/>
                <a:gd name="T22" fmla="*/ 2147483647 w 486"/>
                <a:gd name="T23" fmla="*/ 2147483647 h 240"/>
                <a:gd name="T24" fmla="*/ 2147483647 w 486"/>
                <a:gd name="T25" fmla="*/ 2147483647 h 240"/>
                <a:gd name="T26" fmla="*/ 2147483647 w 486"/>
                <a:gd name="T27" fmla="*/ 2147483647 h 240"/>
                <a:gd name="T28" fmla="*/ 2147483647 w 486"/>
                <a:gd name="T29" fmla="*/ 2147483647 h 240"/>
                <a:gd name="T30" fmla="*/ 2147483647 w 486"/>
                <a:gd name="T31" fmla="*/ 2147483647 h 240"/>
                <a:gd name="T32" fmla="*/ 2147483647 w 486"/>
                <a:gd name="T33" fmla="*/ 2147483647 h 240"/>
                <a:gd name="T34" fmla="*/ 2147483647 w 486"/>
                <a:gd name="T35" fmla="*/ 2147483647 h 240"/>
                <a:gd name="T36" fmla="*/ 2147483647 w 486"/>
                <a:gd name="T37" fmla="*/ 2147483647 h 240"/>
                <a:gd name="T38" fmla="*/ 2147483647 w 486"/>
                <a:gd name="T39" fmla="*/ 2147483647 h 240"/>
                <a:gd name="T40" fmla="*/ 2147483647 w 486"/>
                <a:gd name="T41" fmla="*/ 2147483647 h 240"/>
                <a:gd name="T42" fmla="*/ 2147483647 w 486"/>
                <a:gd name="T43" fmla="*/ 2147483647 h 240"/>
                <a:gd name="T44" fmla="*/ 2147483647 w 486"/>
                <a:gd name="T45" fmla="*/ 2147483647 h 240"/>
                <a:gd name="T46" fmla="*/ 2147483647 w 486"/>
                <a:gd name="T47" fmla="*/ 0 h 240"/>
                <a:gd name="T48" fmla="*/ 2147483647 w 486"/>
                <a:gd name="T49" fmla="*/ 2147483647 h 240"/>
                <a:gd name="T50" fmla="*/ 2147483647 w 486"/>
                <a:gd name="T51" fmla="*/ 2147483647 h 240"/>
                <a:gd name="T52" fmla="*/ 2147483647 w 486"/>
                <a:gd name="T53" fmla="*/ 2147483647 h 240"/>
                <a:gd name="T54" fmla="*/ 0 w 486"/>
                <a:gd name="T55" fmla="*/ 2147483647 h 240"/>
                <a:gd name="T56" fmla="*/ 2147483647 w 486"/>
                <a:gd name="T57" fmla="*/ 2147483647 h 240"/>
                <a:gd name="T58" fmla="*/ 2147483647 w 486"/>
                <a:gd name="T59" fmla="*/ 2147483647 h 240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w 486"/>
                <a:gd name="T91" fmla="*/ 0 h 240"/>
                <a:gd name="T92" fmla="*/ 486 w 486"/>
                <a:gd name="T93" fmla="*/ 240 h 240"/>
              </a:gdLst>
              <a:ahLst/>
              <a:cxnLst>
                <a:cxn ang="T60">
                  <a:pos x="T0" y="T1"/>
                </a:cxn>
                <a:cxn ang="T61">
                  <a:pos x="T2" y="T3"/>
                </a:cxn>
                <a:cxn ang="T62">
                  <a:pos x="T4" y="T5"/>
                </a:cxn>
                <a:cxn ang="T63">
                  <a:pos x="T6" y="T7"/>
                </a:cxn>
                <a:cxn ang="T64">
                  <a:pos x="T8" y="T9"/>
                </a:cxn>
                <a:cxn ang="T65">
                  <a:pos x="T10" y="T11"/>
                </a:cxn>
                <a:cxn ang="T66">
                  <a:pos x="T12" y="T13"/>
                </a:cxn>
                <a:cxn ang="T67">
                  <a:pos x="T14" y="T15"/>
                </a:cxn>
                <a:cxn ang="T68">
                  <a:pos x="T16" y="T17"/>
                </a:cxn>
                <a:cxn ang="T69">
                  <a:pos x="T18" y="T19"/>
                </a:cxn>
                <a:cxn ang="T70">
                  <a:pos x="T20" y="T21"/>
                </a:cxn>
                <a:cxn ang="T71">
                  <a:pos x="T22" y="T23"/>
                </a:cxn>
                <a:cxn ang="T72">
                  <a:pos x="T24" y="T25"/>
                </a:cxn>
                <a:cxn ang="T73">
                  <a:pos x="T26" y="T27"/>
                </a:cxn>
                <a:cxn ang="T74">
                  <a:pos x="T28" y="T29"/>
                </a:cxn>
                <a:cxn ang="T75">
                  <a:pos x="T30" y="T31"/>
                </a:cxn>
                <a:cxn ang="T76">
                  <a:pos x="T32" y="T33"/>
                </a:cxn>
                <a:cxn ang="T77">
                  <a:pos x="T34" y="T35"/>
                </a:cxn>
                <a:cxn ang="T78">
                  <a:pos x="T36" y="T37"/>
                </a:cxn>
                <a:cxn ang="T79">
                  <a:pos x="T38" y="T39"/>
                </a:cxn>
                <a:cxn ang="T80">
                  <a:pos x="T40" y="T41"/>
                </a:cxn>
                <a:cxn ang="T81">
                  <a:pos x="T42" y="T43"/>
                </a:cxn>
                <a:cxn ang="T82">
                  <a:pos x="T44" y="T45"/>
                </a:cxn>
                <a:cxn ang="T83">
                  <a:pos x="T46" y="T47"/>
                </a:cxn>
                <a:cxn ang="T84">
                  <a:pos x="T48" y="T49"/>
                </a:cxn>
                <a:cxn ang="T85">
                  <a:pos x="T50" y="T51"/>
                </a:cxn>
                <a:cxn ang="T86">
                  <a:pos x="T52" y="T53"/>
                </a:cxn>
                <a:cxn ang="T87">
                  <a:pos x="T54" y="T55"/>
                </a:cxn>
                <a:cxn ang="T88">
                  <a:pos x="T56" y="T57"/>
                </a:cxn>
                <a:cxn ang="T89">
                  <a:pos x="T58" y="T59"/>
                </a:cxn>
              </a:cxnLst>
              <a:rect l="T90" t="T91" r="T92" b="T93"/>
              <a:pathLst>
                <a:path w="486" h="240">
                  <a:moveTo>
                    <a:pt x="176" y="157"/>
                  </a:moveTo>
                  <a:lnTo>
                    <a:pt x="183" y="172"/>
                  </a:lnTo>
                  <a:lnTo>
                    <a:pt x="199" y="177"/>
                  </a:lnTo>
                  <a:lnTo>
                    <a:pt x="223" y="240"/>
                  </a:lnTo>
                  <a:lnTo>
                    <a:pt x="266" y="153"/>
                  </a:lnTo>
                  <a:lnTo>
                    <a:pt x="289" y="156"/>
                  </a:lnTo>
                  <a:lnTo>
                    <a:pt x="315" y="143"/>
                  </a:lnTo>
                  <a:lnTo>
                    <a:pt x="363" y="143"/>
                  </a:lnTo>
                  <a:lnTo>
                    <a:pt x="379" y="122"/>
                  </a:lnTo>
                  <a:lnTo>
                    <a:pt x="470" y="125"/>
                  </a:lnTo>
                  <a:lnTo>
                    <a:pt x="486" y="112"/>
                  </a:lnTo>
                  <a:lnTo>
                    <a:pt x="458" y="78"/>
                  </a:lnTo>
                  <a:lnTo>
                    <a:pt x="401" y="79"/>
                  </a:lnTo>
                  <a:lnTo>
                    <a:pt x="358" y="73"/>
                  </a:lnTo>
                  <a:lnTo>
                    <a:pt x="302" y="73"/>
                  </a:lnTo>
                  <a:lnTo>
                    <a:pt x="283" y="101"/>
                  </a:lnTo>
                  <a:lnTo>
                    <a:pt x="254" y="85"/>
                  </a:lnTo>
                  <a:lnTo>
                    <a:pt x="225" y="88"/>
                  </a:lnTo>
                  <a:lnTo>
                    <a:pt x="213" y="59"/>
                  </a:lnTo>
                  <a:lnTo>
                    <a:pt x="150" y="54"/>
                  </a:lnTo>
                  <a:lnTo>
                    <a:pt x="143" y="42"/>
                  </a:lnTo>
                  <a:lnTo>
                    <a:pt x="171" y="13"/>
                  </a:lnTo>
                  <a:lnTo>
                    <a:pt x="193" y="10"/>
                  </a:lnTo>
                  <a:lnTo>
                    <a:pt x="171" y="0"/>
                  </a:lnTo>
                  <a:lnTo>
                    <a:pt x="136" y="8"/>
                  </a:lnTo>
                  <a:lnTo>
                    <a:pt x="76" y="67"/>
                  </a:lnTo>
                  <a:lnTo>
                    <a:pt x="46" y="73"/>
                  </a:lnTo>
                  <a:lnTo>
                    <a:pt x="0" y="103"/>
                  </a:lnTo>
                  <a:lnTo>
                    <a:pt x="176" y="157"/>
                  </a:lnTo>
                  <a:close/>
                </a:path>
              </a:pathLst>
            </a:custGeom>
            <a:no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9178" name="Freeform 27"/>
            <p:cNvSpPr>
              <a:spLocks/>
            </p:cNvSpPr>
            <p:nvPr/>
          </p:nvSpPr>
          <p:spPr bwMode="auto">
            <a:xfrm>
              <a:off x="5046663" y="2168525"/>
              <a:ext cx="690562" cy="747713"/>
            </a:xfrm>
            <a:custGeom>
              <a:avLst/>
              <a:gdLst>
                <a:gd name="T0" fmla="*/ 2147483647 w 453"/>
                <a:gd name="T1" fmla="*/ 2147483647 h 458"/>
                <a:gd name="T2" fmla="*/ 2147483647 w 453"/>
                <a:gd name="T3" fmla="*/ 2147483647 h 458"/>
                <a:gd name="T4" fmla="*/ 2147483647 w 453"/>
                <a:gd name="T5" fmla="*/ 2147483647 h 458"/>
                <a:gd name="T6" fmla="*/ 2147483647 w 453"/>
                <a:gd name="T7" fmla="*/ 2147483647 h 458"/>
                <a:gd name="T8" fmla="*/ 2147483647 w 453"/>
                <a:gd name="T9" fmla="*/ 2147483647 h 458"/>
                <a:gd name="T10" fmla="*/ 2147483647 w 453"/>
                <a:gd name="T11" fmla="*/ 2147483647 h 458"/>
                <a:gd name="T12" fmla="*/ 2147483647 w 453"/>
                <a:gd name="T13" fmla="*/ 2147483647 h 458"/>
                <a:gd name="T14" fmla="*/ 2147483647 w 453"/>
                <a:gd name="T15" fmla="*/ 2147483647 h 458"/>
                <a:gd name="T16" fmla="*/ 2147483647 w 453"/>
                <a:gd name="T17" fmla="*/ 2147483647 h 458"/>
                <a:gd name="T18" fmla="*/ 2147483647 w 453"/>
                <a:gd name="T19" fmla="*/ 2147483647 h 458"/>
                <a:gd name="T20" fmla="*/ 2147483647 w 453"/>
                <a:gd name="T21" fmla="*/ 2147483647 h 458"/>
                <a:gd name="T22" fmla="*/ 2147483647 w 453"/>
                <a:gd name="T23" fmla="*/ 2147483647 h 458"/>
                <a:gd name="T24" fmla="*/ 2147483647 w 453"/>
                <a:gd name="T25" fmla="*/ 2147483647 h 458"/>
                <a:gd name="T26" fmla="*/ 2147483647 w 453"/>
                <a:gd name="T27" fmla="*/ 2147483647 h 458"/>
                <a:gd name="T28" fmla="*/ 2147483647 w 453"/>
                <a:gd name="T29" fmla="*/ 2147483647 h 458"/>
                <a:gd name="T30" fmla="*/ 2147483647 w 453"/>
                <a:gd name="T31" fmla="*/ 2147483647 h 458"/>
                <a:gd name="T32" fmla="*/ 2147483647 w 453"/>
                <a:gd name="T33" fmla="*/ 2147483647 h 458"/>
                <a:gd name="T34" fmla="*/ 2147483647 w 453"/>
                <a:gd name="T35" fmla="*/ 2147483647 h 458"/>
                <a:gd name="T36" fmla="*/ 2147483647 w 453"/>
                <a:gd name="T37" fmla="*/ 2147483647 h 458"/>
                <a:gd name="T38" fmla="*/ 2147483647 w 453"/>
                <a:gd name="T39" fmla="*/ 2147483647 h 458"/>
                <a:gd name="T40" fmla="*/ 2147483647 w 453"/>
                <a:gd name="T41" fmla="*/ 2147483647 h 458"/>
                <a:gd name="T42" fmla="*/ 2147483647 w 453"/>
                <a:gd name="T43" fmla="*/ 2147483647 h 458"/>
                <a:gd name="T44" fmla="*/ 2147483647 w 453"/>
                <a:gd name="T45" fmla="*/ 2147483647 h 458"/>
                <a:gd name="T46" fmla="*/ 2147483647 w 453"/>
                <a:gd name="T47" fmla="*/ 2147483647 h 458"/>
                <a:gd name="T48" fmla="*/ 2147483647 w 453"/>
                <a:gd name="T49" fmla="*/ 2147483647 h 458"/>
                <a:gd name="T50" fmla="*/ 2147483647 w 453"/>
                <a:gd name="T51" fmla="*/ 2147483647 h 458"/>
                <a:gd name="T52" fmla="*/ 2147483647 w 453"/>
                <a:gd name="T53" fmla="*/ 2147483647 h 458"/>
                <a:gd name="T54" fmla="*/ 2147483647 w 453"/>
                <a:gd name="T55" fmla="*/ 2147483647 h 458"/>
                <a:gd name="T56" fmla="*/ 2147483647 w 453"/>
                <a:gd name="T57" fmla="*/ 2147483647 h 458"/>
                <a:gd name="T58" fmla="*/ 2147483647 w 453"/>
                <a:gd name="T59" fmla="*/ 0 h 458"/>
                <a:gd name="T60" fmla="*/ 2147483647 w 453"/>
                <a:gd name="T61" fmla="*/ 2147483647 h 458"/>
                <a:gd name="T62" fmla="*/ 2147483647 w 453"/>
                <a:gd name="T63" fmla="*/ 2147483647 h 458"/>
                <a:gd name="T64" fmla="*/ 2147483647 w 453"/>
                <a:gd name="T65" fmla="*/ 2147483647 h 458"/>
                <a:gd name="T66" fmla="*/ 2147483647 w 453"/>
                <a:gd name="T67" fmla="*/ 2147483647 h 458"/>
                <a:gd name="T68" fmla="*/ 2147483647 w 453"/>
                <a:gd name="T69" fmla="*/ 2147483647 h 458"/>
                <a:gd name="T70" fmla="*/ 0 w 453"/>
                <a:gd name="T71" fmla="*/ 2147483647 h 458"/>
                <a:gd name="T72" fmla="*/ 2147483647 w 453"/>
                <a:gd name="T73" fmla="*/ 2147483647 h 458"/>
                <a:gd name="T74" fmla="*/ 2147483647 w 453"/>
                <a:gd name="T75" fmla="*/ 2147483647 h 458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453"/>
                <a:gd name="T115" fmla="*/ 0 h 458"/>
                <a:gd name="T116" fmla="*/ 453 w 453"/>
                <a:gd name="T117" fmla="*/ 458 h 458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453" h="458">
                  <a:moveTo>
                    <a:pt x="11" y="174"/>
                  </a:moveTo>
                  <a:lnTo>
                    <a:pt x="10" y="230"/>
                  </a:lnTo>
                  <a:lnTo>
                    <a:pt x="65" y="264"/>
                  </a:lnTo>
                  <a:lnTo>
                    <a:pt x="87" y="287"/>
                  </a:lnTo>
                  <a:lnTo>
                    <a:pt x="130" y="320"/>
                  </a:lnTo>
                  <a:lnTo>
                    <a:pt x="138" y="357"/>
                  </a:lnTo>
                  <a:lnTo>
                    <a:pt x="145" y="410"/>
                  </a:lnTo>
                  <a:lnTo>
                    <a:pt x="188" y="458"/>
                  </a:lnTo>
                  <a:lnTo>
                    <a:pt x="413" y="445"/>
                  </a:lnTo>
                  <a:lnTo>
                    <a:pt x="399" y="374"/>
                  </a:lnTo>
                  <a:lnTo>
                    <a:pt x="420" y="267"/>
                  </a:lnTo>
                  <a:lnTo>
                    <a:pt x="419" y="237"/>
                  </a:lnTo>
                  <a:lnTo>
                    <a:pt x="453" y="153"/>
                  </a:lnTo>
                  <a:lnTo>
                    <a:pt x="444" y="150"/>
                  </a:lnTo>
                  <a:lnTo>
                    <a:pt x="423" y="199"/>
                  </a:lnTo>
                  <a:lnTo>
                    <a:pt x="405" y="202"/>
                  </a:lnTo>
                  <a:lnTo>
                    <a:pt x="396" y="223"/>
                  </a:lnTo>
                  <a:lnTo>
                    <a:pt x="378" y="236"/>
                  </a:lnTo>
                  <a:lnTo>
                    <a:pt x="392" y="192"/>
                  </a:lnTo>
                  <a:lnTo>
                    <a:pt x="405" y="174"/>
                  </a:lnTo>
                  <a:lnTo>
                    <a:pt x="381" y="111"/>
                  </a:lnTo>
                  <a:lnTo>
                    <a:pt x="365" y="106"/>
                  </a:lnTo>
                  <a:lnTo>
                    <a:pt x="358" y="91"/>
                  </a:lnTo>
                  <a:lnTo>
                    <a:pt x="182" y="37"/>
                  </a:lnTo>
                  <a:lnTo>
                    <a:pt x="162" y="26"/>
                  </a:lnTo>
                  <a:lnTo>
                    <a:pt x="148" y="37"/>
                  </a:lnTo>
                  <a:lnTo>
                    <a:pt x="144" y="34"/>
                  </a:lnTo>
                  <a:lnTo>
                    <a:pt x="151" y="15"/>
                  </a:lnTo>
                  <a:lnTo>
                    <a:pt x="156" y="3"/>
                  </a:lnTo>
                  <a:lnTo>
                    <a:pt x="150" y="0"/>
                  </a:lnTo>
                  <a:lnTo>
                    <a:pt x="78" y="29"/>
                  </a:lnTo>
                  <a:lnTo>
                    <a:pt x="69" y="29"/>
                  </a:lnTo>
                  <a:lnTo>
                    <a:pt x="56" y="24"/>
                  </a:lnTo>
                  <a:lnTo>
                    <a:pt x="43" y="32"/>
                  </a:lnTo>
                  <a:lnTo>
                    <a:pt x="46" y="85"/>
                  </a:lnTo>
                  <a:lnTo>
                    <a:pt x="0" y="139"/>
                  </a:lnTo>
                  <a:lnTo>
                    <a:pt x="11" y="174"/>
                  </a:lnTo>
                  <a:close/>
                </a:path>
              </a:pathLst>
            </a:custGeom>
            <a:no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9179" name="Freeform 28"/>
            <p:cNvSpPr>
              <a:spLocks/>
            </p:cNvSpPr>
            <p:nvPr/>
          </p:nvSpPr>
          <p:spPr bwMode="auto">
            <a:xfrm>
              <a:off x="5246688" y="2897188"/>
              <a:ext cx="509587" cy="954087"/>
            </a:xfrm>
            <a:custGeom>
              <a:avLst/>
              <a:gdLst>
                <a:gd name="T0" fmla="*/ 2147483647 w 334"/>
                <a:gd name="T1" fmla="*/ 2147483647 h 584"/>
                <a:gd name="T2" fmla="*/ 2147483647 w 334"/>
                <a:gd name="T3" fmla="*/ 2147483647 h 584"/>
                <a:gd name="T4" fmla="*/ 2147483647 w 334"/>
                <a:gd name="T5" fmla="*/ 2147483647 h 584"/>
                <a:gd name="T6" fmla="*/ 2147483647 w 334"/>
                <a:gd name="T7" fmla="*/ 2147483647 h 584"/>
                <a:gd name="T8" fmla="*/ 2147483647 w 334"/>
                <a:gd name="T9" fmla="*/ 2147483647 h 584"/>
                <a:gd name="T10" fmla="*/ 2147483647 w 334"/>
                <a:gd name="T11" fmla="*/ 2147483647 h 584"/>
                <a:gd name="T12" fmla="*/ 2147483647 w 334"/>
                <a:gd name="T13" fmla="*/ 0 h 584"/>
                <a:gd name="T14" fmla="*/ 2147483647 w 334"/>
                <a:gd name="T15" fmla="*/ 2147483647 h 584"/>
                <a:gd name="T16" fmla="*/ 2147483647 w 334"/>
                <a:gd name="T17" fmla="*/ 2147483647 h 584"/>
                <a:gd name="T18" fmla="*/ 2147483647 w 334"/>
                <a:gd name="T19" fmla="*/ 2147483647 h 584"/>
                <a:gd name="T20" fmla="*/ 2147483647 w 334"/>
                <a:gd name="T21" fmla="*/ 2147483647 h 584"/>
                <a:gd name="T22" fmla="*/ 2147483647 w 334"/>
                <a:gd name="T23" fmla="*/ 2147483647 h 584"/>
                <a:gd name="T24" fmla="*/ 2147483647 w 334"/>
                <a:gd name="T25" fmla="*/ 2147483647 h 584"/>
                <a:gd name="T26" fmla="*/ 2147483647 w 334"/>
                <a:gd name="T27" fmla="*/ 2147483647 h 584"/>
                <a:gd name="T28" fmla="*/ 2147483647 w 334"/>
                <a:gd name="T29" fmla="*/ 2147483647 h 584"/>
                <a:gd name="T30" fmla="*/ 2147483647 w 334"/>
                <a:gd name="T31" fmla="*/ 2147483647 h 584"/>
                <a:gd name="T32" fmla="*/ 2147483647 w 334"/>
                <a:gd name="T33" fmla="*/ 2147483647 h 584"/>
                <a:gd name="T34" fmla="*/ 2147483647 w 334"/>
                <a:gd name="T35" fmla="*/ 2147483647 h 584"/>
                <a:gd name="T36" fmla="*/ 2147483647 w 334"/>
                <a:gd name="T37" fmla="*/ 2147483647 h 584"/>
                <a:gd name="T38" fmla="*/ 2147483647 w 334"/>
                <a:gd name="T39" fmla="*/ 2147483647 h 584"/>
                <a:gd name="T40" fmla="*/ 2147483647 w 334"/>
                <a:gd name="T41" fmla="*/ 2147483647 h 584"/>
                <a:gd name="T42" fmla="*/ 2147483647 w 334"/>
                <a:gd name="T43" fmla="*/ 2147483647 h 584"/>
                <a:gd name="T44" fmla="*/ 2147483647 w 334"/>
                <a:gd name="T45" fmla="*/ 2147483647 h 584"/>
                <a:gd name="T46" fmla="*/ 2147483647 w 334"/>
                <a:gd name="T47" fmla="*/ 2147483647 h 584"/>
                <a:gd name="T48" fmla="*/ 2147483647 w 334"/>
                <a:gd name="T49" fmla="*/ 2147483647 h 584"/>
                <a:gd name="T50" fmla="*/ 2147483647 w 334"/>
                <a:gd name="T51" fmla="*/ 2147483647 h 584"/>
                <a:gd name="T52" fmla="*/ 2147483647 w 334"/>
                <a:gd name="T53" fmla="*/ 2147483647 h 584"/>
                <a:gd name="T54" fmla="*/ 2147483647 w 334"/>
                <a:gd name="T55" fmla="*/ 2147483647 h 584"/>
                <a:gd name="T56" fmla="*/ 2147483647 w 334"/>
                <a:gd name="T57" fmla="*/ 2147483647 h 584"/>
                <a:gd name="T58" fmla="*/ 2147483647 w 334"/>
                <a:gd name="T59" fmla="*/ 2147483647 h 584"/>
                <a:gd name="T60" fmla="*/ 2147483647 w 334"/>
                <a:gd name="T61" fmla="*/ 2147483647 h 584"/>
                <a:gd name="T62" fmla="*/ 2147483647 w 334"/>
                <a:gd name="T63" fmla="*/ 2147483647 h 584"/>
                <a:gd name="T64" fmla="*/ 0 w 334"/>
                <a:gd name="T65" fmla="*/ 2147483647 h 584"/>
                <a:gd name="T66" fmla="*/ 2147483647 w 334"/>
                <a:gd name="T67" fmla="*/ 2147483647 h 584"/>
                <a:gd name="T68" fmla="*/ 2147483647 w 334"/>
                <a:gd name="T69" fmla="*/ 2147483647 h 584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334"/>
                <a:gd name="T106" fmla="*/ 0 h 584"/>
                <a:gd name="T107" fmla="*/ 334 w 334"/>
                <a:gd name="T108" fmla="*/ 584 h 584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334" h="584">
                  <a:moveTo>
                    <a:pt x="6" y="239"/>
                  </a:moveTo>
                  <a:lnTo>
                    <a:pt x="40" y="165"/>
                  </a:lnTo>
                  <a:lnTo>
                    <a:pt x="30" y="137"/>
                  </a:lnTo>
                  <a:lnTo>
                    <a:pt x="86" y="93"/>
                  </a:lnTo>
                  <a:lnTo>
                    <a:pt x="98" y="61"/>
                  </a:lnTo>
                  <a:lnTo>
                    <a:pt x="56" y="13"/>
                  </a:lnTo>
                  <a:lnTo>
                    <a:pt x="281" y="0"/>
                  </a:lnTo>
                  <a:lnTo>
                    <a:pt x="285" y="34"/>
                  </a:lnTo>
                  <a:lnTo>
                    <a:pt x="309" y="77"/>
                  </a:lnTo>
                  <a:lnTo>
                    <a:pt x="328" y="299"/>
                  </a:lnTo>
                  <a:lnTo>
                    <a:pt x="324" y="347"/>
                  </a:lnTo>
                  <a:lnTo>
                    <a:pt x="334" y="373"/>
                  </a:lnTo>
                  <a:lnTo>
                    <a:pt x="322" y="423"/>
                  </a:lnTo>
                  <a:lnTo>
                    <a:pt x="304" y="445"/>
                  </a:lnTo>
                  <a:lnTo>
                    <a:pt x="295" y="481"/>
                  </a:lnTo>
                  <a:lnTo>
                    <a:pt x="306" y="494"/>
                  </a:lnTo>
                  <a:lnTo>
                    <a:pt x="297" y="513"/>
                  </a:lnTo>
                  <a:lnTo>
                    <a:pt x="301" y="522"/>
                  </a:lnTo>
                  <a:lnTo>
                    <a:pt x="275" y="532"/>
                  </a:lnTo>
                  <a:lnTo>
                    <a:pt x="269" y="569"/>
                  </a:lnTo>
                  <a:lnTo>
                    <a:pt x="230" y="558"/>
                  </a:lnTo>
                  <a:lnTo>
                    <a:pt x="211" y="584"/>
                  </a:lnTo>
                  <a:lnTo>
                    <a:pt x="199" y="581"/>
                  </a:lnTo>
                  <a:lnTo>
                    <a:pt x="186" y="558"/>
                  </a:lnTo>
                  <a:lnTo>
                    <a:pt x="165" y="500"/>
                  </a:lnTo>
                  <a:lnTo>
                    <a:pt x="114" y="471"/>
                  </a:lnTo>
                  <a:lnTo>
                    <a:pt x="104" y="441"/>
                  </a:lnTo>
                  <a:lnTo>
                    <a:pt x="120" y="395"/>
                  </a:lnTo>
                  <a:lnTo>
                    <a:pt x="107" y="386"/>
                  </a:lnTo>
                  <a:lnTo>
                    <a:pt x="74" y="386"/>
                  </a:lnTo>
                  <a:lnTo>
                    <a:pt x="67" y="358"/>
                  </a:lnTo>
                  <a:lnTo>
                    <a:pt x="12" y="302"/>
                  </a:lnTo>
                  <a:lnTo>
                    <a:pt x="0" y="257"/>
                  </a:lnTo>
                  <a:lnTo>
                    <a:pt x="6" y="239"/>
                  </a:lnTo>
                  <a:close/>
                </a:path>
              </a:pathLst>
            </a:custGeom>
            <a:no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9180" name="Freeform 29"/>
            <p:cNvSpPr>
              <a:spLocks/>
            </p:cNvSpPr>
            <p:nvPr/>
          </p:nvSpPr>
          <p:spPr bwMode="auto">
            <a:xfrm>
              <a:off x="5692775" y="2984500"/>
              <a:ext cx="406400" cy="714375"/>
            </a:xfrm>
            <a:custGeom>
              <a:avLst/>
              <a:gdLst>
                <a:gd name="T0" fmla="*/ 2147483647 w 265"/>
                <a:gd name="T1" fmla="*/ 2147483647 h 438"/>
                <a:gd name="T2" fmla="*/ 2147483647 w 265"/>
                <a:gd name="T3" fmla="*/ 2147483647 h 438"/>
                <a:gd name="T4" fmla="*/ 2147483647 w 265"/>
                <a:gd name="T5" fmla="*/ 2147483647 h 438"/>
                <a:gd name="T6" fmla="*/ 2147483647 w 265"/>
                <a:gd name="T7" fmla="*/ 2147483647 h 438"/>
                <a:gd name="T8" fmla="*/ 2147483647 w 265"/>
                <a:gd name="T9" fmla="*/ 2147483647 h 438"/>
                <a:gd name="T10" fmla="*/ 2147483647 w 265"/>
                <a:gd name="T11" fmla="*/ 2147483647 h 438"/>
                <a:gd name="T12" fmla="*/ 2147483647 w 265"/>
                <a:gd name="T13" fmla="*/ 2147483647 h 438"/>
                <a:gd name="T14" fmla="*/ 2147483647 w 265"/>
                <a:gd name="T15" fmla="*/ 2147483647 h 438"/>
                <a:gd name="T16" fmla="*/ 2147483647 w 265"/>
                <a:gd name="T17" fmla="*/ 2147483647 h 438"/>
                <a:gd name="T18" fmla="*/ 2147483647 w 265"/>
                <a:gd name="T19" fmla="*/ 2147483647 h 438"/>
                <a:gd name="T20" fmla="*/ 2147483647 w 265"/>
                <a:gd name="T21" fmla="*/ 2147483647 h 438"/>
                <a:gd name="T22" fmla="*/ 2147483647 w 265"/>
                <a:gd name="T23" fmla="*/ 2147483647 h 438"/>
                <a:gd name="T24" fmla="*/ 2147483647 w 265"/>
                <a:gd name="T25" fmla="*/ 0 h 438"/>
                <a:gd name="T26" fmla="*/ 2147483647 w 265"/>
                <a:gd name="T27" fmla="*/ 2147483647 h 438"/>
                <a:gd name="T28" fmla="*/ 2147483647 w 265"/>
                <a:gd name="T29" fmla="*/ 2147483647 h 438"/>
                <a:gd name="T30" fmla="*/ 2147483647 w 265"/>
                <a:gd name="T31" fmla="*/ 2147483647 h 438"/>
                <a:gd name="T32" fmla="*/ 2147483647 w 265"/>
                <a:gd name="T33" fmla="*/ 2147483647 h 438"/>
                <a:gd name="T34" fmla="*/ 2147483647 w 265"/>
                <a:gd name="T35" fmla="*/ 2147483647 h 438"/>
                <a:gd name="T36" fmla="*/ 2147483647 w 265"/>
                <a:gd name="T37" fmla="*/ 2147483647 h 438"/>
                <a:gd name="T38" fmla="*/ 2147483647 w 265"/>
                <a:gd name="T39" fmla="*/ 2147483647 h 438"/>
                <a:gd name="T40" fmla="*/ 2147483647 w 265"/>
                <a:gd name="T41" fmla="*/ 2147483647 h 438"/>
                <a:gd name="T42" fmla="*/ 0 w 265"/>
                <a:gd name="T43" fmla="*/ 2147483647 h 438"/>
                <a:gd name="T44" fmla="*/ 2147483647 w 265"/>
                <a:gd name="T45" fmla="*/ 2147483647 h 438"/>
                <a:gd name="T46" fmla="*/ 2147483647 w 265"/>
                <a:gd name="T47" fmla="*/ 2147483647 h 438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w 265"/>
                <a:gd name="T73" fmla="*/ 0 h 438"/>
                <a:gd name="T74" fmla="*/ 265 w 265"/>
                <a:gd name="T75" fmla="*/ 438 h 438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T72" t="T73" r="T74" b="T75"/>
              <a:pathLst>
                <a:path w="265" h="438">
                  <a:moveTo>
                    <a:pt x="9" y="438"/>
                  </a:moveTo>
                  <a:lnTo>
                    <a:pt x="17" y="426"/>
                  </a:lnTo>
                  <a:lnTo>
                    <a:pt x="67" y="423"/>
                  </a:lnTo>
                  <a:lnTo>
                    <a:pt x="109" y="410"/>
                  </a:lnTo>
                  <a:lnTo>
                    <a:pt x="149" y="385"/>
                  </a:lnTo>
                  <a:lnTo>
                    <a:pt x="183" y="384"/>
                  </a:lnTo>
                  <a:lnTo>
                    <a:pt x="223" y="320"/>
                  </a:lnTo>
                  <a:lnTo>
                    <a:pt x="235" y="325"/>
                  </a:lnTo>
                  <a:lnTo>
                    <a:pt x="265" y="303"/>
                  </a:lnTo>
                  <a:lnTo>
                    <a:pt x="257" y="286"/>
                  </a:lnTo>
                  <a:lnTo>
                    <a:pt x="260" y="276"/>
                  </a:lnTo>
                  <a:lnTo>
                    <a:pt x="231" y="6"/>
                  </a:lnTo>
                  <a:lnTo>
                    <a:pt x="228" y="0"/>
                  </a:lnTo>
                  <a:lnTo>
                    <a:pt x="70" y="18"/>
                  </a:lnTo>
                  <a:lnTo>
                    <a:pt x="41" y="33"/>
                  </a:lnTo>
                  <a:lnTo>
                    <a:pt x="14" y="24"/>
                  </a:lnTo>
                  <a:lnTo>
                    <a:pt x="33" y="246"/>
                  </a:lnTo>
                  <a:lnTo>
                    <a:pt x="29" y="294"/>
                  </a:lnTo>
                  <a:lnTo>
                    <a:pt x="39" y="320"/>
                  </a:lnTo>
                  <a:lnTo>
                    <a:pt x="27" y="370"/>
                  </a:lnTo>
                  <a:lnTo>
                    <a:pt x="9" y="392"/>
                  </a:lnTo>
                  <a:lnTo>
                    <a:pt x="0" y="428"/>
                  </a:lnTo>
                  <a:lnTo>
                    <a:pt x="9" y="438"/>
                  </a:lnTo>
                  <a:close/>
                </a:path>
              </a:pathLst>
            </a:custGeom>
            <a:no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9182" name="Freeform 31"/>
            <p:cNvSpPr>
              <a:spLocks/>
            </p:cNvSpPr>
            <p:nvPr/>
          </p:nvSpPr>
          <p:spPr bwMode="auto">
            <a:xfrm>
              <a:off x="5441950" y="3806825"/>
              <a:ext cx="1111250" cy="388938"/>
            </a:xfrm>
            <a:custGeom>
              <a:avLst/>
              <a:gdLst>
                <a:gd name="T0" fmla="*/ 2147483647 w 728"/>
                <a:gd name="T1" fmla="*/ 2147483647 h 238"/>
                <a:gd name="T2" fmla="*/ 2147483647 w 728"/>
                <a:gd name="T3" fmla="*/ 2147483647 h 238"/>
                <a:gd name="T4" fmla="*/ 2147483647 w 728"/>
                <a:gd name="T5" fmla="*/ 2147483647 h 238"/>
                <a:gd name="T6" fmla="*/ 2147483647 w 728"/>
                <a:gd name="T7" fmla="*/ 2147483647 h 238"/>
                <a:gd name="T8" fmla="*/ 2147483647 w 728"/>
                <a:gd name="T9" fmla="*/ 2147483647 h 238"/>
                <a:gd name="T10" fmla="*/ 2147483647 w 728"/>
                <a:gd name="T11" fmla="*/ 2147483647 h 238"/>
                <a:gd name="T12" fmla="*/ 2147483647 w 728"/>
                <a:gd name="T13" fmla="*/ 2147483647 h 238"/>
                <a:gd name="T14" fmla="*/ 2147483647 w 728"/>
                <a:gd name="T15" fmla="*/ 2147483647 h 238"/>
                <a:gd name="T16" fmla="*/ 2147483647 w 728"/>
                <a:gd name="T17" fmla="*/ 2147483647 h 238"/>
                <a:gd name="T18" fmla="*/ 2147483647 w 728"/>
                <a:gd name="T19" fmla="*/ 2147483647 h 238"/>
                <a:gd name="T20" fmla="*/ 2147483647 w 728"/>
                <a:gd name="T21" fmla="*/ 2147483647 h 238"/>
                <a:gd name="T22" fmla="*/ 2147483647 w 728"/>
                <a:gd name="T23" fmla="*/ 2147483647 h 238"/>
                <a:gd name="T24" fmla="*/ 2147483647 w 728"/>
                <a:gd name="T25" fmla="*/ 0 h 238"/>
                <a:gd name="T26" fmla="*/ 2147483647 w 728"/>
                <a:gd name="T27" fmla="*/ 2147483647 h 238"/>
                <a:gd name="T28" fmla="*/ 2147483647 w 728"/>
                <a:gd name="T29" fmla="*/ 2147483647 h 238"/>
                <a:gd name="T30" fmla="*/ 2147483647 w 728"/>
                <a:gd name="T31" fmla="*/ 2147483647 h 238"/>
                <a:gd name="T32" fmla="*/ 2147483647 w 728"/>
                <a:gd name="T33" fmla="*/ 2147483647 h 238"/>
                <a:gd name="T34" fmla="*/ 2147483647 w 728"/>
                <a:gd name="T35" fmla="*/ 2147483647 h 238"/>
                <a:gd name="T36" fmla="*/ 2147483647 w 728"/>
                <a:gd name="T37" fmla="*/ 2147483647 h 238"/>
                <a:gd name="T38" fmla="*/ 2147483647 w 728"/>
                <a:gd name="T39" fmla="*/ 2147483647 h 238"/>
                <a:gd name="T40" fmla="*/ 2147483647 w 728"/>
                <a:gd name="T41" fmla="*/ 2147483647 h 238"/>
                <a:gd name="T42" fmla="*/ 2147483647 w 728"/>
                <a:gd name="T43" fmla="*/ 2147483647 h 238"/>
                <a:gd name="T44" fmla="*/ 0 w 728"/>
                <a:gd name="T45" fmla="*/ 2147483647 h 238"/>
                <a:gd name="T46" fmla="*/ 2147483647 w 728"/>
                <a:gd name="T47" fmla="*/ 2147483647 h 238"/>
                <a:gd name="T48" fmla="*/ 2147483647 w 728"/>
                <a:gd name="T49" fmla="*/ 2147483647 h 238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w 728"/>
                <a:gd name="T76" fmla="*/ 0 h 238"/>
                <a:gd name="T77" fmla="*/ 728 w 728"/>
                <a:gd name="T78" fmla="*/ 238 h 238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T75" t="T76" r="T77" b="T78"/>
              <a:pathLst>
                <a:path w="728" h="238">
                  <a:moveTo>
                    <a:pt x="13" y="196"/>
                  </a:moveTo>
                  <a:lnTo>
                    <a:pt x="9" y="193"/>
                  </a:lnTo>
                  <a:lnTo>
                    <a:pt x="30" y="176"/>
                  </a:lnTo>
                  <a:lnTo>
                    <a:pt x="49" y="140"/>
                  </a:lnTo>
                  <a:lnTo>
                    <a:pt x="43" y="131"/>
                  </a:lnTo>
                  <a:lnTo>
                    <a:pt x="54" y="113"/>
                  </a:lnTo>
                  <a:lnTo>
                    <a:pt x="54" y="92"/>
                  </a:lnTo>
                  <a:lnTo>
                    <a:pt x="67" y="78"/>
                  </a:lnTo>
                  <a:lnTo>
                    <a:pt x="181" y="69"/>
                  </a:lnTo>
                  <a:lnTo>
                    <a:pt x="180" y="51"/>
                  </a:lnTo>
                  <a:lnTo>
                    <a:pt x="217" y="53"/>
                  </a:lnTo>
                  <a:lnTo>
                    <a:pt x="559" y="22"/>
                  </a:lnTo>
                  <a:lnTo>
                    <a:pt x="728" y="0"/>
                  </a:lnTo>
                  <a:lnTo>
                    <a:pt x="698" y="57"/>
                  </a:lnTo>
                  <a:lnTo>
                    <a:pt x="651" y="67"/>
                  </a:lnTo>
                  <a:lnTo>
                    <a:pt x="630" y="95"/>
                  </a:lnTo>
                  <a:lnTo>
                    <a:pt x="547" y="144"/>
                  </a:lnTo>
                  <a:lnTo>
                    <a:pt x="542" y="162"/>
                  </a:lnTo>
                  <a:lnTo>
                    <a:pt x="522" y="172"/>
                  </a:lnTo>
                  <a:lnTo>
                    <a:pt x="522" y="196"/>
                  </a:lnTo>
                  <a:lnTo>
                    <a:pt x="409" y="207"/>
                  </a:lnTo>
                  <a:lnTo>
                    <a:pt x="183" y="228"/>
                  </a:lnTo>
                  <a:lnTo>
                    <a:pt x="0" y="238"/>
                  </a:lnTo>
                  <a:lnTo>
                    <a:pt x="13" y="196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9183" name="Freeform 32"/>
            <p:cNvSpPr>
              <a:spLocks/>
            </p:cNvSpPr>
            <p:nvPr/>
          </p:nvSpPr>
          <p:spPr bwMode="auto">
            <a:xfrm>
              <a:off x="5292725" y="4181475"/>
              <a:ext cx="463550" cy="827088"/>
            </a:xfrm>
            <a:custGeom>
              <a:avLst/>
              <a:gdLst>
                <a:gd name="T0" fmla="*/ 2147483647 w 303"/>
                <a:gd name="T1" fmla="*/ 2147483647 h 507"/>
                <a:gd name="T2" fmla="*/ 2147483647 w 303"/>
                <a:gd name="T3" fmla="*/ 2147483647 h 507"/>
                <a:gd name="T4" fmla="*/ 2147483647 w 303"/>
                <a:gd name="T5" fmla="*/ 2147483647 h 507"/>
                <a:gd name="T6" fmla="*/ 2147483647 w 303"/>
                <a:gd name="T7" fmla="*/ 2147483647 h 507"/>
                <a:gd name="T8" fmla="*/ 2147483647 w 303"/>
                <a:gd name="T9" fmla="*/ 2147483647 h 507"/>
                <a:gd name="T10" fmla="*/ 2147483647 w 303"/>
                <a:gd name="T11" fmla="*/ 2147483647 h 507"/>
                <a:gd name="T12" fmla="*/ 2147483647 w 303"/>
                <a:gd name="T13" fmla="*/ 2147483647 h 507"/>
                <a:gd name="T14" fmla="*/ 2147483647 w 303"/>
                <a:gd name="T15" fmla="*/ 2147483647 h 507"/>
                <a:gd name="T16" fmla="*/ 2147483647 w 303"/>
                <a:gd name="T17" fmla="*/ 2147483647 h 507"/>
                <a:gd name="T18" fmla="*/ 2147483647 w 303"/>
                <a:gd name="T19" fmla="*/ 0 h 507"/>
                <a:gd name="T20" fmla="*/ 2147483647 w 303"/>
                <a:gd name="T21" fmla="*/ 2147483647 h 507"/>
                <a:gd name="T22" fmla="*/ 2147483647 w 303"/>
                <a:gd name="T23" fmla="*/ 2147483647 h 507"/>
                <a:gd name="T24" fmla="*/ 2147483647 w 303"/>
                <a:gd name="T25" fmla="*/ 2147483647 h 507"/>
                <a:gd name="T26" fmla="*/ 2147483647 w 303"/>
                <a:gd name="T27" fmla="*/ 2147483647 h 507"/>
                <a:gd name="T28" fmla="*/ 2147483647 w 303"/>
                <a:gd name="T29" fmla="*/ 2147483647 h 507"/>
                <a:gd name="T30" fmla="*/ 2147483647 w 303"/>
                <a:gd name="T31" fmla="*/ 2147483647 h 507"/>
                <a:gd name="T32" fmla="*/ 2147483647 w 303"/>
                <a:gd name="T33" fmla="*/ 2147483647 h 507"/>
                <a:gd name="T34" fmla="*/ 2147483647 w 303"/>
                <a:gd name="T35" fmla="*/ 2147483647 h 507"/>
                <a:gd name="T36" fmla="*/ 0 w 303"/>
                <a:gd name="T37" fmla="*/ 2147483647 h 507"/>
                <a:gd name="T38" fmla="*/ 2147483647 w 303"/>
                <a:gd name="T39" fmla="*/ 2147483647 h 507"/>
                <a:gd name="T40" fmla="*/ 2147483647 w 303"/>
                <a:gd name="T41" fmla="*/ 2147483647 h 507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w 303"/>
                <a:gd name="T64" fmla="*/ 0 h 507"/>
                <a:gd name="T65" fmla="*/ 303 w 303"/>
                <a:gd name="T66" fmla="*/ 507 h 507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T63" t="T64" r="T65" b="T66"/>
              <a:pathLst>
                <a:path w="303" h="507">
                  <a:moveTo>
                    <a:pt x="20" y="354"/>
                  </a:moveTo>
                  <a:lnTo>
                    <a:pt x="50" y="314"/>
                  </a:lnTo>
                  <a:lnTo>
                    <a:pt x="40" y="304"/>
                  </a:lnTo>
                  <a:lnTo>
                    <a:pt x="29" y="223"/>
                  </a:lnTo>
                  <a:lnTo>
                    <a:pt x="23" y="167"/>
                  </a:lnTo>
                  <a:lnTo>
                    <a:pt x="46" y="105"/>
                  </a:lnTo>
                  <a:lnTo>
                    <a:pt x="78" y="60"/>
                  </a:lnTo>
                  <a:lnTo>
                    <a:pt x="75" y="49"/>
                  </a:lnTo>
                  <a:lnTo>
                    <a:pt x="99" y="10"/>
                  </a:lnTo>
                  <a:lnTo>
                    <a:pt x="282" y="0"/>
                  </a:lnTo>
                  <a:lnTo>
                    <a:pt x="291" y="9"/>
                  </a:lnTo>
                  <a:lnTo>
                    <a:pt x="282" y="324"/>
                  </a:lnTo>
                  <a:lnTo>
                    <a:pt x="303" y="476"/>
                  </a:lnTo>
                  <a:lnTo>
                    <a:pt x="295" y="484"/>
                  </a:lnTo>
                  <a:lnTo>
                    <a:pt x="255" y="475"/>
                  </a:lnTo>
                  <a:lnTo>
                    <a:pt x="197" y="507"/>
                  </a:lnTo>
                  <a:lnTo>
                    <a:pt x="167" y="459"/>
                  </a:lnTo>
                  <a:lnTo>
                    <a:pt x="172" y="423"/>
                  </a:lnTo>
                  <a:lnTo>
                    <a:pt x="0" y="431"/>
                  </a:lnTo>
                  <a:lnTo>
                    <a:pt x="20" y="354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9184" name="Freeform 33"/>
            <p:cNvSpPr>
              <a:spLocks/>
            </p:cNvSpPr>
            <p:nvPr/>
          </p:nvSpPr>
          <p:spPr bwMode="auto">
            <a:xfrm>
              <a:off x="5718175" y="4148138"/>
              <a:ext cx="496888" cy="836612"/>
            </a:xfrm>
            <a:custGeom>
              <a:avLst/>
              <a:gdLst>
                <a:gd name="T0" fmla="*/ 2147483647 w 325"/>
                <a:gd name="T1" fmla="*/ 2147483647 h 513"/>
                <a:gd name="T2" fmla="*/ 0 w 325"/>
                <a:gd name="T3" fmla="*/ 2147483647 h 513"/>
                <a:gd name="T4" fmla="*/ 2147483647 w 325"/>
                <a:gd name="T5" fmla="*/ 2147483647 h 513"/>
                <a:gd name="T6" fmla="*/ 2147483647 w 325"/>
                <a:gd name="T7" fmla="*/ 2147483647 h 513"/>
                <a:gd name="T8" fmla="*/ 2147483647 w 325"/>
                <a:gd name="T9" fmla="*/ 2147483647 h 513"/>
                <a:gd name="T10" fmla="*/ 2147483647 w 325"/>
                <a:gd name="T11" fmla="*/ 2147483647 h 513"/>
                <a:gd name="T12" fmla="*/ 2147483647 w 325"/>
                <a:gd name="T13" fmla="*/ 2147483647 h 513"/>
                <a:gd name="T14" fmla="*/ 2147483647 w 325"/>
                <a:gd name="T15" fmla="*/ 2147483647 h 513"/>
                <a:gd name="T16" fmla="*/ 2147483647 w 325"/>
                <a:gd name="T17" fmla="*/ 2147483647 h 513"/>
                <a:gd name="T18" fmla="*/ 2147483647 w 325"/>
                <a:gd name="T19" fmla="*/ 2147483647 h 513"/>
                <a:gd name="T20" fmla="*/ 2147483647 w 325"/>
                <a:gd name="T21" fmla="*/ 2147483647 h 513"/>
                <a:gd name="T22" fmla="*/ 2147483647 w 325"/>
                <a:gd name="T23" fmla="*/ 2147483647 h 513"/>
                <a:gd name="T24" fmla="*/ 2147483647 w 325"/>
                <a:gd name="T25" fmla="*/ 2147483647 h 513"/>
                <a:gd name="T26" fmla="*/ 2147483647 w 325"/>
                <a:gd name="T27" fmla="*/ 2147483647 h 513"/>
                <a:gd name="T28" fmla="*/ 2147483647 w 325"/>
                <a:gd name="T29" fmla="*/ 2147483647 h 513"/>
                <a:gd name="T30" fmla="*/ 2147483647 w 325"/>
                <a:gd name="T31" fmla="*/ 2147483647 h 513"/>
                <a:gd name="T32" fmla="*/ 2147483647 w 325"/>
                <a:gd name="T33" fmla="*/ 2147483647 h 513"/>
                <a:gd name="T34" fmla="*/ 2147483647 w 325"/>
                <a:gd name="T35" fmla="*/ 0 h 513"/>
                <a:gd name="T36" fmla="*/ 0 w 325"/>
                <a:gd name="T37" fmla="*/ 2147483647 h 513"/>
                <a:gd name="T38" fmla="*/ 2147483647 w 325"/>
                <a:gd name="T39" fmla="*/ 2147483647 h 513"/>
                <a:gd name="T40" fmla="*/ 2147483647 w 325"/>
                <a:gd name="T41" fmla="*/ 2147483647 h 513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w 325"/>
                <a:gd name="T64" fmla="*/ 0 h 513"/>
                <a:gd name="T65" fmla="*/ 325 w 325"/>
                <a:gd name="T66" fmla="*/ 513 h 513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T63" t="T64" r="T65" b="T66"/>
              <a:pathLst>
                <a:path w="325" h="513">
                  <a:moveTo>
                    <a:pt x="9" y="30"/>
                  </a:moveTo>
                  <a:lnTo>
                    <a:pt x="0" y="345"/>
                  </a:lnTo>
                  <a:lnTo>
                    <a:pt x="21" y="497"/>
                  </a:lnTo>
                  <a:lnTo>
                    <a:pt x="43" y="503"/>
                  </a:lnTo>
                  <a:lnTo>
                    <a:pt x="62" y="491"/>
                  </a:lnTo>
                  <a:lnTo>
                    <a:pt x="76" y="503"/>
                  </a:lnTo>
                  <a:lnTo>
                    <a:pt x="56" y="513"/>
                  </a:lnTo>
                  <a:lnTo>
                    <a:pt x="102" y="502"/>
                  </a:lnTo>
                  <a:lnTo>
                    <a:pt x="111" y="487"/>
                  </a:lnTo>
                  <a:lnTo>
                    <a:pt x="105" y="480"/>
                  </a:lnTo>
                  <a:lnTo>
                    <a:pt x="108" y="466"/>
                  </a:lnTo>
                  <a:lnTo>
                    <a:pt x="86" y="447"/>
                  </a:lnTo>
                  <a:lnTo>
                    <a:pt x="87" y="429"/>
                  </a:lnTo>
                  <a:lnTo>
                    <a:pt x="325" y="409"/>
                  </a:lnTo>
                  <a:lnTo>
                    <a:pt x="304" y="329"/>
                  </a:lnTo>
                  <a:lnTo>
                    <a:pt x="318" y="281"/>
                  </a:lnTo>
                  <a:lnTo>
                    <a:pt x="287" y="217"/>
                  </a:lnTo>
                  <a:lnTo>
                    <a:pt x="226" y="0"/>
                  </a:lnTo>
                  <a:lnTo>
                    <a:pt x="0" y="21"/>
                  </a:lnTo>
                  <a:lnTo>
                    <a:pt x="9" y="30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9186" name="Freeform 35"/>
            <p:cNvSpPr>
              <a:spLocks/>
            </p:cNvSpPr>
            <p:nvPr/>
          </p:nvSpPr>
          <p:spPr bwMode="auto">
            <a:xfrm>
              <a:off x="6043613" y="2874963"/>
              <a:ext cx="546100" cy="641350"/>
            </a:xfrm>
            <a:custGeom>
              <a:avLst/>
              <a:gdLst>
                <a:gd name="T0" fmla="*/ 0 w 358"/>
                <a:gd name="T1" fmla="*/ 2147483647 h 391"/>
                <a:gd name="T2" fmla="*/ 2147483647 w 358"/>
                <a:gd name="T3" fmla="*/ 2147483647 h 391"/>
                <a:gd name="T4" fmla="*/ 2147483647 w 358"/>
                <a:gd name="T5" fmla="*/ 2147483647 h 391"/>
                <a:gd name="T6" fmla="*/ 2147483647 w 358"/>
                <a:gd name="T7" fmla="*/ 2147483647 h 391"/>
                <a:gd name="T8" fmla="*/ 2147483647 w 358"/>
                <a:gd name="T9" fmla="*/ 2147483647 h 391"/>
                <a:gd name="T10" fmla="*/ 2147483647 w 358"/>
                <a:gd name="T11" fmla="*/ 2147483647 h 391"/>
                <a:gd name="T12" fmla="*/ 2147483647 w 358"/>
                <a:gd name="T13" fmla="*/ 2147483647 h 391"/>
                <a:gd name="T14" fmla="*/ 2147483647 w 358"/>
                <a:gd name="T15" fmla="*/ 2147483647 h 391"/>
                <a:gd name="T16" fmla="*/ 2147483647 w 358"/>
                <a:gd name="T17" fmla="*/ 2147483647 h 391"/>
                <a:gd name="T18" fmla="*/ 2147483647 w 358"/>
                <a:gd name="T19" fmla="*/ 2147483647 h 391"/>
                <a:gd name="T20" fmla="*/ 2147483647 w 358"/>
                <a:gd name="T21" fmla="*/ 2147483647 h 391"/>
                <a:gd name="T22" fmla="*/ 2147483647 w 358"/>
                <a:gd name="T23" fmla="*/ 2147483647 h 391"/>
                <a:gd name="T24" fmla="*/ 2147483647 w 358"/>
                <a:gd name="T25" fmla="*/ 2147483647 h 391"/>
                <a:gd name="T26" fmla="*/ 2147483647 w 358"/>
                <a:gd name="T27" fmla="*/ 2147483647 h 391"/>
                <a:gd name="T28" fmla="*/ 2147483647 w 358"/>
                <a:gd name="T29" fmla="*/ 2147483647 h 391"/>
                <a:gd name="T30" fmla="*/ 2147483647 w 358"/>
                <a:gd name="T31" fmla="*/ 0 h 391"/>
                <a:gd name="T32" fmla="*/ 2147483647 w 358"/>
                <a:gd name="T33" fmla="*/ 2147483647 h 391"/>
                <a:gd name="T34" fmla="*/ 2147483647 w 358"/>
                <a:gd name="T35" fmla="*/ 2147483647 h 391"/>
                <a:gd name="T36" fmla="*/ 2147483647 w 358"/>
                <a:gd name="T37" fmla="*/ 2147483647 h 391"/>
                <a:gd name="T38" fmla="*/ 2147483647 w 358"/>
                <a:gd name="T39" fmla="*/ 2147483647 h 391"/>
                <a:gd name="T40" fmla="*/ 2147483647 w 358"/>
                <a:gd name="T41" fmla="*/ 2147483647 h 391"/>
                <a:gd name="T42" fmla="*/ 0 w 358"/>
                <a:gd name="T43" fmla="*/ 2147483647 h 391"/>
                <a:gd name="T44" fmla="*/ 0 w 358"/>
                <a:gd name="T45" fmla="*/ 2147483647 h 391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w 358"/>
                <a:gd name="T70" fmla="*/ 0 h 391"/>
                <a:gd name="T71" fmla="*/ 358 w 358"/>
                <a:gd name="T72" fmla="*/ 391 h 391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T69" t="T70" r="T71" b="T72"/>
              <a:pathLst>
                <a:path w="358" h="391">
                  <a:moveTo>
                    <a:pt x="0" y="71"/>
                  </a:moveTo>
                  <a:lnTo>
                    <a:pt x="29" y="341"/>
                  </a:lnTo>
                  <a:lnTo>
                    <a:pt x="74" y="347"/>
                  </a:lnTo>
                  <a:lnTo>
                    <a:pt x="128" y="378"/>
                  </a:lnTo>
                  <a:lnTo>
                    <a:pt x="166" y="376"/>
                  </a:lnTo>
                  <a:lnTo>
                    <a:pt x="184" y="365"/>
                  </a:lnTo>
                  <a:lnTo>
                    <a:pt x="226" y="391"/>
                  </a:lnTo>
                  <a:lnTo>
                    <a:pt x="252" y="368"/>
                  </a:lnTo>
                  <a:lnTo>
                    <a:pt x="257" y="326"/>
                  </a:lnTo>
                  <a:lnTo>
                    <a:pt x="275" y="334"/>
                  </a:lnTo>
                  <a:lnTo>
                    <a:pt x="282" y="300"/>
                  </a:lnTo>
                  <a:lnTo>
                    <a:pt x="343" y="248"/>
                  </a:lnTo>
                  <a:lnTo>
                    <a:pt x="353" y="163"/>
                  </a:lnTo>
                  <a:lnTo>
                    <a:pt x="346" y="145"/>
                  </a:lnTo>
                  <a:lnTo>
                    <a:pt x="358" y="136"/>
                  </a:lnTo>
                  <a:lnTo>
                    <a:pt x="336" y="0"/>
                  </a:lnTo>
                  <a:lnTo>
                    <a:pt x="275" y="31"/>
                  </a:lnTo>
                  <a:lnTo>
                    <a:pt x="243" y="64"/>
                  </a:lnTo>
                  <a:lnTo>
                    <a:pt x="221" y="65"/>
                  </a:lnTo>
                  <a:lnTo>
                    <a:pt x="187" y="83"/>
                  </a:lnTo>
                  <a:lnTo>
                    <a:pt x="108" y="55"/>
                  </a:lnTo>
                  <a:lnTo>
                    <a:pt x="0" y="71"/>
                  </a:lnTo>
                  <a:close/>
                </a:path>
              </a:pathLst>
            </a:custGeom>
            <a:no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9187" name="Freeform 36"/>
            <p:cNvSpPr>
              <a:spLocks/>
            </p:cNvSpPr>
            <p:nvPr/>
          </p:nvSpPr>
          <p:spPr bwMode="auto">
            <a:xfrm>
              <a:off x="6383338" y="3098800"/>
              <a:ext cx="585787" cy="600075"/>
            </a:xfrm>
            <a:custGeom>
              <a:avLst/>
              <a:gdLst>
                <a:gd name="T0" fmla="*/ 0 w 383"/>
                <a:gd name="T1" fmla="*/ 2147483647 h 367"/>
                <a:gd name="T2" fmla="*/ 2147483647 w 383"/>
                <a:gd name="T3" fmla="*/ 2147483647 h 367"/>
                <a:gd name="T4" fmla="*/ 2147483647 w 383"/>
                <a:gd name="T5" fmla="*/ 2147483647 h 367"/>
                <a:gd name="T6" fmla="*/ 2147483647 w 383"/>
                <a:gd name="T7" fmla="*/ 2147483647 h 367"/>
                <a:gd name="T8" fmla="*/ 2147483647 w 383"/>
                <a:gd name="T9" fmla="*/ 2147483647 h 367"/>
                <a:gd name="T10" fmla="*/ 2147483647 w 383"/>
                <a:gd name="T11" fmla="*/ 2147483647 h 367"/>
                <a:gd name="T12" fmla="*/ 2147483647 w 383"/>
                <a:gd name="T13" fmla="*/ 2147483647 h 367"/>
                <a:gd name="T14" fmla="*/ 2147483647 w 383"/>
                <a:gd name="T15" fmla="*/ 2147483647 h 367"/>
                <a:gd name="T16" fmla="*/ 2147483647 w 383"/>
                <a:gd name="T17" fmla="*/ 2147483647 h 367"/>
                <a:gd name="T18" fmla="*/ 2147483647 w 383"/>
                <a:gd name="T19" fmla="*/ 2147483647 h 367"/>
                <a:gd name="T20" fmla="*/ 2147483647 w 383"/>
                <a:gd name="T21" fmla="*/ 2147483647 h 367"/>
                <a:gd name="T22" fmla="*/ 2147483647 w 383"/>
                <a:gd name="T23" fmla="*/ 2147483647 h 367"/>
                <a:gd name="T24" fmla="*/ 2147483647 w 383"/>
                <a:gd name="T25" fmla="*/ 2147483647 h 367"/>
                <a:gd name="T26" fmla="*/ 2147483647 w 383"/>
                <a:gd name="T27" fmla="*/ 2147483647 h 367"/>
                <a:gd name="T28" fmla="*/ 2147483647 w 383"/>
                <a:gd name="T29" fmla="*/ 2147483647 h 367"/>
                <a:gd name="T30" fmla="*/ 2147483647 w 383"/>
                <a:gd name="T31" fmla="*/ 2147483647 h 367"/>
                <a:gd name="T32" fmla="*/ 2147483647 w 383"/>
                <a:gd name="T33" fmla="*/ 2147483647 h 367"/>
                <a:gd name="T34" fmla="*/ 2147483647 w 383"/>
                <a:gd name="T35" fmla="*/ 2147483647 h 367"/>
                <a:gd name="T36" fmla="*/ 2147483647 w 383"/>
                <a:gd name="T37" fmla="*/ 2147483647 h 367"/>
                <a:gd name="T38" fmla="*/ 2147483647 w 383"/>
                <a:gd name="T39" fmla="*/ 0 h 367"/>
                <a:gd name="T40" fmla="*/ 2147483647 w 383"/>
                <a:gd name="T41" fmla="*/ 2147483647 h 367"/>
                <a:gd name="T42" fmla="*/ 2147483647 w 383"/>
                <a:gd name="T43" fmla="*/ 2147483647 h 367"/>
                <a:gd name="T44" fmla="*/ 2147483647 w 383"/>
                <a:gd name="T45" fmla="*/ 2147483647 h 367"/>
                <a:gd name="T46" fmla="*/ 2147483647 w 383"/>
                <a:gd name="T47" fmla="*/ 2147483647 h 367"/>
                <a:gd name="T48" fmla="*/ 2147483647 w 383"/>
                <a:gd name="T49" fmla="*/ 2147483647 h 367"/>
                <a:gd name="T50" fmla="*/ 2147483647 w 383"/>
                <a:gd name="T51" fmla="*/ 2147483647 h 367"/>
                <a:gd name="T52" fmla="*/ 2147483647 w 383"/>
                <a:gd name="T53" fmla="*/ 2147483647 h 367"/>
                <a:gd name="T54" fmla="*/ 0 w 383"/>
                <a:gd name="T55" fmla="*/ 2147483647 h 367"/>
                <a:gd name="T56" fmla="*/ 0 w 383"/>
                <a:gd name="T57" fmla="*/ 2147483647 h 367"/>
                <a:gd name="T58" fmla="*/ 0 w 383"/>
                <a:gd name="T59" fmla="*/ 2147483647 h 367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w 383"/>
                <a:gd name="T91" fmla="*/ 0 h 367"/>
                <a:gd name="T92" fmla="*/ 383 w 383"/>
                <a:gd name="T93" fmla="*/ 367 h 367"/>
              </a:gdLst>
              <a:ahLst/>
              <a:cxnLst>
                <a:cxn ang="T60">
                  <a:pos x="T0" y="T1"/>
                </a:cxn>
                <a:cxn ang="T61">
                  <a:pos x="T2" y="T3"/>
                </a:cxn>
                <a:cxn ang="T62">
                  <a:pos x="T4" y="T5"/>
                </a:cxn>
                <a:cxn ang="T63">
                  <a:pos x="T6" y="T7"/>
                </a:cxn>
                <a:cxn ang="T64">
                  <a:pos x="T8" y="T9"/>
                </a:cxn>
                <a:cxn ang="T65">
                  <a:pos x="T10" y="T11"/>
                </a:cxn>
                <a:cxn ang="T66">
                  <a:pos x="T12" y="T13"/>
                </a:cxn>
                <a:cxn ang="T67">
                  <a:pos x="T14" y="T15"/>
                </a:cxn>
                <a:cxn ang="T68">
                  <a:pos x="T16" y="T17"/>
                </a:cxn>
                <a:cxn ang="T69">
                  <a:pos x="T18" y="T19"/>
                </a:cxn>
                <a:cxn ang="T70">
                  <a:pos x="T20" y="T21"/>
                </a:cxn>
                <a:cxn ang="T71">
                  <a:pos x="T22" y="T23"/>
                </a:cxn>
                <a:cxn ang="T72">
                  <a:pos x="T24" y="T25"/>
                </a:cxn>
                <a:cxn ang="T73">
                  <a:pos x="T26" y="T27"/>
                </a:cxn>
                <a:cxn ang="T74">
                  <a:pos x="T28" y="T29"/>
                </a:cxn>
                <a:cxn ang="T75">
                  <a:pos x="T30" y="T31"/>
                </a:cxn>
                <a:cxn ang="T76">
                  <a:pos x="T32" y="T33"/>
                </a:cxn>
                <a:cxn ang="T77">
                  <a:pos x="T34" y="T35"/>
                </a:cxn>
                <a:cxn ang="T78">
                  <a:pos x="T36" y="T37"/>
                </a:cxn>
                <a:cxn ang="T79">
                  <a:pos x="T38" y="T39"/>
                </a:cxn>
                <a:cxn ang="T80">
                  <a:pos x="T40" y="T41"/>
                </a:cxn>
                <a:cxn ang="T81">
                  <a:pos x="T42" y="T43"/>
                </a:cxn>
                <a:cxn ang="T82">
                  <a:pos x="T44" y="T45"/>
                </a:cxn>
                <a:cxn ang="T83">
                  <a:pos x="T46" y="T47"/>
                </a:cxn>
                <a:cxn ang="T84">
                  <a:pos x="T48" y="T49"/>
                </a:cxn>
                <a:cxn ang="T85">
                  <a:pos x="T50" y="T51"/>
                </a:cxn>
                <a:cxn ang="T86">
                  <a:pos x="T52" y="T53"/>
                </a:cxn>
                <a:cxn ang="T87">
                  <a:pos x="T54" y="T55"/>
                </a:cxn>
                <a:cxn ang="T88">
                  <a:pos x="T56" y="T57"/>
                </a:cxn>
                <a:cxn ang="T89">
                  <a:pos x="T58" y="T59"/>
                </a:cxn>
              </a:cxnLst>
              <a:rect l="T90" t="T91" r="T92" b="T93"/>
              <a:pathLst>
                <a:path w="383" h="367">
                  <a:moveTo>
                    <a:pt x="0" y="255"/>
                  </a:moveTo>
                  <a:lnTo>
                    <a:pt x="14" y="305"/>
                  </a:lnTo>
                  <a:lnTo>
                    <a:pt x="63" y="341"/>
                  </a:lnTo>
                  <a:lnTo>
                    <a:pt x="87" y="367"/>
                  </a:lnTo>
                  <a:lnTo>
                    <a:pt x="160" y="339"/>
                  </a:lnTo>
                  <a:lnTo>
                    <a:pt x="193" y="333"/>
                  </a:lnTo>
                  <a:lnTo>
                    <a:pt x="211" y="313"/>
                  </a:lnTo>
                  <a:lnTo>
                    <a:pt x="239" y="202"/>
                  </a:lnTo>
                  <a:lnTo>
                    <a:pt x="270" y="215"/>
                  </a:lnTo>
                  <a:lnTo>
                    <a:pt x="329" y="94"/>
                  </a:lnTo>
                  <a:lnTo>
                    <a:pt x="375" y="121"/>
                  </a:lnTo>
                  <a:lnTo>
                    <a:pt x="383" y="99"/>
                  </a:lnTo>
                  <a:lnTo>
                    <a:pt x="350" y="74"/>
                  </a:lnTo>
                  <a:lnTo>
                    <a:pt x="325" y="77"/>
                  </a:lnTo>
                  <a:lnTo>
                    <a:pt x="316" y="90"/>
                  </a:lnTo>
                  <a:lnTo>
                    <a:pt x="270" y="103"/>
                  </a:lnTo>
                  <a:lnTo>
                    <a:pt x="240" y="136"/>
                  </a:lnTo>
                  <a:lnTo>
                    <a:pt x="230" y="83"/>
                  </a:lnTo>
                  <a:lnTo>
                    <a:pt x="148" y="97"/>
                  </a:lnTo>
                  <a:lnTo>
                    <a:pt x="132" y="0"/>
                  </a:lnTo>
                  <a:lnTo>
                    <a:pt x="120" y="9"/>
                  </a:lnTo>
                  <a:lnTo>
                    <a:pt x="127" y="27"/>
                  </a:lnTo>
                  <a:lnTo>
                    <a:pt x="117" y="112"/>
                  </a:lnTo>
                  <a:lnTo>
                    <a:pt x="56" y="164"/>
                  </a:lnTo>
                  <a:lnTo>
                    <a:pt x="49" y="198"/>
                  </a:lnTo>
                  <a:lnTo>
                    <a:pt x="31" y="190"/>
                  </a:lnTo>
                  <a:lnTo>
                    <a:pt x="26" y="232"/>
                  </a:lnTo>
                  <a:lnTo>
                    <a:pt x="0" y="255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9188" name="Freeform 37"/>
            <p:cNvSpPr>
              <a:spLocks/>
            </p:cNvSpPr>
            <p:nvPr/>
          </p:nvSpPr>
          <p:spPr bwMode="auto">
            <a:xfrm>
              <a:off x="6247588" y="3241472"/>
              <a:ext cx="1006475" cy="592138"/>
            </a:xfrm>
            <a:custGeom>
              <a:avLst/>
              <a:gdLst>
                <a:gd name="T0" fmla="*/ 2147483647 w 659"/>
                <a:gd name="T1" fmla="*/ 2147483647 h 362"/>
                <a:gd name="T2" fmla="*/ 2147483647 w 659"/>
                <a:gd name="T3" fmla="*/ 2147483647 h 362"/>
                <a:gd name="T4" fmla="*/ 2147483647 w 659"/>
                <a:gd name="T5" fmla="*/ 2147483647 h 362"/>
                <a:gd name="T6" fmla="*/ 2147483647 w 659"/>
                <a:gd name="T7" fmla="*/ 2147483647 h 362"/>
                <a:gd name="T8" fmla="*/ 2147483647 w 659"/>
                <a:gd name="T9" fmla="*/ 2147483647 h 362"/>
                <a:gd name="T10" fmla="*/ 2147483647 w 659"/>
                <a:gd name="T11" fmla="*/ 2147483647 h 362"/>
                <a:gd name="T12" fmla="*/ 2147483647 w 659"/>
                <a:gd name="T13" fmla="*/ 2147483647 h 362"/>
                <a:gd name="T14" fmla="*/ 2147483647 w 659"/>
                <a:gd name="T15" fmla="*/ 2147483647 h 362"/>
                <a:gd name="T16" fmla="*/ 2147483647 w 659"/>
                <a:gd name="T17" fmla="*/ 2147483647 h 362"/>
                <a:gd name="T18" fmla="*/ 2147483647 w 659"/>
                <a:gd name="T19" fmla="*/ 2147483647 h 362"/>
                <a:gd name="T20" fmla="*/ 2147483647 w 659"/>
                <a:gd name="T21" fmla="*/ 0 h 362"/>
                <a:gd name="T22" fmla="*/ 2147483647 w 659"/>
                <a:gd name="T23" fmla="*/ 2147483647 h 362"/>
                <a:gd name="T24" fmla="*/ 2147483647 w 659"/>
                <a:gd name="T25" fmla="*/ 2147483647 h 362"/>
                <a:gd name="T26" fmla="*/ 2147483647 w 659"/>
                <a:gd name="T27" fmla="*/ 2147483647 h 362"/>
                <a:gd name="T28" fmla="*/ 2147483647 w 659"/>
                <a:gd name="T29" fmla="*/ 2147483647 h 362"/>
                <a:gd name="T30" fmla="*/ 2147483647 w 659"/>
                <a:gd name="T31" fmla="*/ 2147483647 h 362"/>
                <a:gd name="T32" fmla="*/ 2147483647 w 659"/>
                <a:gd name="T33" fmla="*/ 2147483647 h 362"/>
                <a:gd name="T34" fmla="*/ 2147483647 w 659"/>
                <a:gd name="T35" fmla="*/ 2147483647 h 362"/>
                <a:gd name="T36" fmla="*/ 2147483647 w 659"/>
                <a:gd name="T37" fmla="*/ 2147483647 h 362"/>
                <a:gd name="T38" fmla="*/ 2147483647 w 659"/>
                <a:gd name="T39" fmla="*/ 2147483647 h 362"/>
                <a:gd name="T40" fmla="*/ 2147483647 w 659"/>
                <a:gd name="T41" fmla="*/ 2147483647 h 362"/>
                <a:gd name="T42" fmla="*/ 2147483647 w 659"/>
                <a:gd name="T43" fmla="*/ 2147483647 h 362"/>
                <a:gd name="T44" fmla="*/ 2147483647 w 659"/>
                <a:gd name="T45" fmla="*/ 2147483647 h 362"/>
                <a:gd name="T46" fmla="*/ 2147483647 w 659"/>
                <a:gd name="T47" fmla="*/ 2147483647 h 362"/>
                <a:gd name="T48" fmla="*/ 2147483647 w 659"/>
                <a:gd name="T49" fmla="*/ 2147483647 h 362"/>
                <a:gd name="T50" fmla="*/ 2147483647 w 659"/>
                <a:gd name="T51" fmla="*/ 2147483647 h 362"/>
                <a:gd name="T52" fmla="*/ 2147483647 w 659"/>
                <a:gd name="T53" fmla="*/ 2147483647 h 362"/>
                <a:gd name="T54" fmla="*/ 2147483647 w 659"/>
                <a:gd name="T55" fmla="*/ 2147483647 h 362"/>
                <a:gd name="T56" fmla="*/ 2147483647 w 659"/>
                <a:gd name="T57" fmla="*/ 2147483647 h 362"/>
                <a:gd name="T58" fmla="*/ 0 w 659"/>
                <a:gd name="T59" fmla="*/ 2147483647 h 362"/>
                <a:gd name="T60" fmla="*/ 2147483647 w 659"/>
                <a:gd name="T61" fmla="*/ 2147483647 h 362"/>
                <a:gd name="T62" fmla="*/ 2147483647 w 659"/>
                <a:gd name="T63" fmla="*/ 2147483647 h 362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w 659"/>
                <a:gd name="T97" fmla="*/ 0 h 362"/>
                <a:gd name="T98" fmla="*/ 659 w 659"/>
                <a:gd name="T99" fmla="*/ 362 h 362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T96" t="T97" r="T98" b="T99"/>
              <a:pathLst>
                <a:path w="659" h="362">
                  <a:moveTo>
                    <a:pt x="61" y="323"/>
                  </a:moveTo>
                  <a:lnTo>
                    <a:pt x="61" y="314"/>
                  </a:lnTo>
                  <a:lnTo>
                    <a:pt x="104" y="273"/>
                  </a:lnTo>
                  <a:lnTo>
                    <a:pt x="127" y="247"/>
                  </a:lnTo>
                  <a:lnTo>
                    <a:pt x="151" y="273"/>
                  </a:lnTo>
                  <a:lnTo>
                    <a:pt x="224" y="245"/>
                  </a:lnTo>
                  <a:lnTo>
                    <a:pt x="257" y="239"/>
                  </a:lnTo>
                  <a:lnTo>
                    <a:pt x="275" y="219"/>
                  </a:lnTo>
                  <a:lnTo>
                    <a:pt x="303" y="108"/>
                  </a:lnTo>
                  <a:lnTo>
                    <a:pt x="334" y="121"/>
                  </a:lnTo>
                  <a:lnTo>
                    <a:pt x="393" y="0"/>
                  </a:lnTo>
                  <a:lnTo>
                    <a:pt x="439" y="27"/>
                  </a:lnTo>
                  <a:lnTo>
                    <a:pt x="447" y="5"/>
                  </a:lnTo>
                  <a:lnTo>
                    <a:pt x="469" y="11"/>
                  </a:lnTo>
                  <a:lnTo>
                    <a:pt x="511" y="49"/>
                  </a:lnTo>
                  <a:lnTo>
                    <a:pt x="496" y="84"/>
                  </a:lnTo>
                  <a:lnTo>
                    <a:pt x="502" y="101"/>
                  </a:lnTo>
                  <a:lnTo>
                    <a:pt x="520" y="93"/>
                  </a:lnTo>
                  <a:lnTo>
                    <a:pt x="533" y="110"/>
                  </a:lnTo>
                  <a:lnTo>
                    <a:pt x="597" y="130"/>
                  </a:lnTo>
                  <a:lnTo>
                    <a:pt x="538" y="127"/>
                  </a:lnTo>
                  <a:lnTo>
                    <a:pt x="600" y="182"/>
                  </a:lnTo>
                  <a:lnTo>
                    <a:pt x="560" y="176"/>
                  </a:lnTo>
                  <a:lnTo>
                    <a:pt x="640" y="226"/>
                  </a:lnTo>
                  <a:lnTo>
                    <a:pt x="659" y="260"/>
                  </a:lnTo>
                  <a:lnTo>
                    <a:pt x="646" y="255"/>
                  </a:lnTo>
                  <a:lnTo>
                    <a:pt x="643" y="264"/>
                  </a:lnTo>
                  <a:lnTo>
                    <a:pt x="383" y="313"/>
                  </a:lnTo>
                  <a:lnTo>
                    <a:pt x="169" y="340"/>
                  </a:lnTo>
                  <a:lnTo>
                    <a:pt x="0" y="362"/>
                  </a:lnTo>
                  <a:lnTo>
                    <a:pt x="61" y="323"/>
                  </a:lnTo>
                  <a:close/>
                </a:path>
              </a:pathLst>
            </a:custGeom>
            <a:solidFill>
              <a:srgbClr val="FFFF99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9189" name="Freeform 38"/>
            <p:cNvSpPr>
              <a:spLocks/>
            </p:cNvSpPr>
            <p:nvPr/>
          </p:nvSpPr>
          <p:spPr bwMode="auto">
            <a:xfrm>
              <a:off x="7181850" y="3122613"/>
              <a:ext cx="141288" cy="230187"/>
            </a:xfrm>
            <a:custGeom>
              <a:avLst/>
              <a:gdLst>
                <a:gd name="T0" fmla="*/ 0 w 91"/>
                <a:gd name="T1" fmla="*/ 2147483647 h 141"/>
                <a:gd name="T2" fmla="*/ 2147483647 w 91"/>
                <a:gd name="T3" fmla="*/ 0 h 141"/>
                <a:gd name="T4" fmla="*/ 2147483647 w 91"/>
                <a:gd name="T5" fmla="*/ 0 h 141"/>
                <a:gd name="T6" fmla="*/ 2147483647 w 91"/>
                <a:gd name="T7" fmla="*/ 2147483647 h 141"/>
                <a:gd name="T8" fmla="*/ 2147483647 w 91"/>
                <a:gd name="T9" fmla="*/ 2147483647 h 141"/>
                <a:gd name="T10" fmla="*/ 2147483647 w 91"/>
                <a:gd name="T11" fmla="*/ 2147483647 h 141"/>
                <a:gd name="T12" fmla="*/ 2147483647 w 91"/>
                <a:gd name="T13" fmla="*/ 2147483647 h 141"/>
                <a:gd name="T14" fmla="*/ 2147483647 w 91"/>
                <a:gd name="T15" fmla="*/ 2147483647 h 141"/>
                <a:gd name="T16" fmla="*/ 2147483647 w 91"/>
                <a:gd name="T17" fmla="*/ 2147483647 h 141"/>
                <a:gd name="T18" fmla="*/ 2147483647 w 91"/>
                <a:gd name="T19" fmla="*/ 2147483647 h 141"/>
                <a:gd name="T20" fmla="*/ 2147483647 w 91"/>
                <a:gd name="T21" fmla="*/ 2147483647 h 141"/>
                <a:gd name="T22" fmla="*/ 2147483647 w 91"/>
                <a:gd name="T23" fmla="*/ 2147483647 h 141"/>
                <a:gd name="T24" fmla="*/ 2147483647 w 91"/>
                <a:gd name="T25" fmla="*/ 2147483647 h 141"/>
                <a:gd name="T26" fmla="*/ 2147483647 w 91"/>
                <a:gd name="T27" fmla="*/ 2147483647 h 141"/>
                <a:gd name="T28" fmla="*/ 2147483647 w 91"/>
                <a:gd name="T29" fmla="*/ 2147483647 h 141"/>
                <a:gd name="T30" fmla="*/ 0 w 91"/>
                <a:gd name="T31" fmla="*/ 2147483647 h 141"/>
                <a:gd name="T32" fmla="*/ 0 w 91"/>
                <a:gd name="T33" fmla="*/ 2147483647 h 141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w 91"/>
                <a:gd name="T52" fmla="*/ 0 h 141"/>
                <a:gd name="T53" fmla="*/ 91 w 91"/>
                <a:gd name="T54" fmla="*/ 141 h 141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T51" t="T52" r="T53" b="T54"/>
              <a:pathLst>
                <a:path w="91" h="141">
                  <a:moveTo>
                    <a:pt x="0" y="13"/>
                  </a:moveTo>
                  <a:lnTo>
                    <a:pt x="12" y="0"/>
                  </a:lnTo>
                  <a:lnTo>
                    <a:pt x="30" y="0"/>
                  </a:lnTo>
                  <a:lnTo>
                    <a:pt x="24" y="13"/>
                  </a:lnTo>
                  <a:lnTo>
                    <a:pt x="20" y="19"/>
                  </a:lnTo>
                  <a:lnTo>
                    <a:pt x="23" y="35"/>
                  </a:lnTo>
                  <a:lnTo>
                    <a:pt x="45" y="57"/>
                  </a:lnTo>
                  <a:lnTo>
                    <a:pt x="48" y="74"/>
                  </a:lnTo>
                  <a:lnTo>
                    <a:pt x="66" y="94"/>
                  </a:lnTo>
                  <a:lnTo>
                    <a:pt x="81" y="99"/>
                  </a:lnTo>
                  <a:lnTo>
                    <a:pt x="87" y="112"/>
                  </a:lnTo>
                  <a:lnTo>
                    <a:pt x="75" y="122"/>
                  </a:lnTo>
                  <a:lnTo>
                    <a:pt x="87" y="121"/>
                  </a:lnTo>
                  <a:lnTo>
                    <a:pt x="91" y="131"/>
                  </a:lnTo>
                  <a:lnTo>
                    <a:pt x="36" y="141"/>
                  </a:lnTo>
                  <a:lnTo>
                    <a:pt x="0" y="13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9190" name="Freeform 39"/>
            <p:cNvSpPr>
              <a:spLocks/>
            </p:cNvSpPr>
            <p:nvPr/>
          </p:nvSpPr>
          <p:spPr bwMode="auto">
            <a:xfrm>
              <a:off x="6550025" y="2752725"/>
              <a:ext cx="754063" cy="503238"/>
            </a:xfrm>
            <a:custGeom>
              <a:avLst/>
              <a:gdLst>
                <a:gd name="T0" fmla="*/ 2147483647 w 494"/>
                <a:gd name="T1" fmla="*/ 2147483647 h 308"/>
                <a:gd name="T2" fmla="*/ 2147483647 w 494"/>
                <a:gd name="T3" fmla="*/ 2147483647 h 308"/>
                <a:gd name="T4" fmla="*/ 2147483647 w 494"/>
                <a:gd name="T5" fmla="*/ 2147483647 h 308"/>
                <a:gd name="T6" fmla="*/ 2147483647 w 494"/>
                <a:gd name="T7" fmla="*/ 2147483647 h 308"/>
                <a:gd name="T8" fmla="*/ 2147483647 w 494"/>
                <a:gd name="T9" fmla="*/ 2147483647 h 308"/>
                <a:gd name="T10" fmla="*/ 2147483647 w 494"/>
                <a:gd name="T11" fmla="*/ 2147483647 h 308"/>
                <a:gd name="T12" fmla="*/ 2147483647 w 494"/>
                <a:gd name="T13" fmla="*/ 2147483647 h 308"/>
                <a:gd name="T14" fmla="*/ 2147483647 w 494"/>
                <a:gd name="T15" fmla="*/ 2147483647 h 308"/>
                <a:gd name="T16" fmla="*/ 2147483647 w 494"/>
                <a:gd name="T17" fmla="*/ 2147483647 h 308"/>
                <a:gd name="T18" fmla="*/ 2147483647 w 494"/>
                <a:gd name="T19" fmla="*/ 2147483647 h 308"/>
                <a:gd name="T20" fmla="*/ 2147483647 w 494"/>
                <a:gd name="T21" fmla="*/ 2147483647 h 308"/>
                <a:gd name="T22" fmla="*/ 2147483647 w 494"/>
                <a:gd name="T23" fmla="*/ 0 h 308"/>
                <a:gd name="T24" fmla="*/ 2147483647 w 494"/>
                <a:gd name="T25" fmla="*/ 2147483647 h 308"/>
                <a:gd name="T26" fmla="*/ 2147483647 w 494"/>
                <a:gd name="T27" fmla="*/ 2147483647 h 308"/>
                <a:gd name="T28" fmla="*/ 0 w 494"/>
                <a:gd name="T29" fmla="*/ 2147483647 h 308"/>
                <a:gd name="T30" fmla="*/ 2147483647 w 494"/>
                <a:gd name="T31" fmla="*/ 2147483647 h 308"/>
                <a:gd name="T32" fmla="*/ 2147483647 w 494"/>
                <a:gd name="T33" fmla="*/ 2147483647 h 308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w 494"/>
                <a:gd name="T52" fmla="*/ 0 h 308"/>
                <a:gd name="T53" fmla="*/ 494 w 494"/>
                <a:gd name="T54" fmla="*/ 308 h 308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T51" t="T52" r="T53" b="T54"/>
              <a:pathLst>
                <a:path w="494" h="308">
                  <a:moveTo>
                    <a:pt x="38" y="308"/>
                  </a:moveTo>
                  <a:lnTo>
                    <a:pt x="120" y="294"/>
                  </a:lnTo>
                  <a:lnTo>
                    <a:pt x="418" y="239"/>
                  </a:lnTo>
                  <a:lnTo>
                    <a:pt x="430" y="226"/>
                  </a:lnTo>
                  <a:lnTo>
                    <a:pt x="448" y="226"/>
                  </a:lnTo>
                  <a:lnTo>
                    <a:pt x="467" y="213"/>
                  </a:lnTo>
                  <a:lnTo>
                    <a:pt x="494" y="177"/>
                  </a:lnTo>
                  <a:lnTo>
                    <a:pt x="447" y="139"/>
                  </a:lnTo>
                  <a:lnTo>
                    <a:pt x="445" y="103"/>
                  </a:lnTo>
                  <a:lnTo>
                    <a:pt x="467" y="53"/>
                  </a:lnTo>
                  <a:lnTo>
                    <a:pt x="435" y="36"/>
                  </a:lnTo>
                  <a:lnTo>
                    <a:pt x="399" y="0"/>
                  </a:lnTo>
                  <a:lnTo>
                    <a:pt x="69" y="61"/>
                  </a:lnTo>
                  <a:lnTo>
                    <a:pt x="53" y="36"/>
                  </a:lnTo>
                  <a:lnTo>
                    <a:pt x="0" y="75"/>
                  </a:lnTo>
                  <a:lnTo>
                    <a:pt x="38" y="308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9192" name="Freeform 41"/>
            <p:cNvSpPr>
              <a:spLocks/>
            </p:cNvSpPr>
            <p:nvPr/>
          </p:nvSpPr>
          <p:spPr bwMode="auto">
            <a:xfrm>
              <a:off x="7791450" y="2643188"/>
              <a:ext cx="69850" cy="77787"/>
            </a:xfrm>
            <a:custGeom>
              <a:avLst/>
              <a:gdLst>
                <a:gd name="T0" fmla="*/ 0 w 21"/>
                <a:gd name="T1" fmla="*/ 2147483647 h 15"/>
                <a:gd name="T2" fmla="*/ 2147483647 w 21"/>
                <a:gd name="T3" fmla="*/ 0 h 15"/>
                <a:gd name="T4" fmla="*/ 2147483647 w 21"/>
                <a:gd name="T5" fmla="*/ 2147483647 h 15"/>
                <a:gd name="T6" fmla="*/ 0 w 21"/>
                <a:gd name="T7" fmla="*/ 2147483647 h 15"/>
                <a:gd name="T8" fmla="*/ 0 w 21"/>
                <a:gd name="T9" fmla="*/ 2147483647 h 15"/>
                <a:gd name="T10" fmla="*/ 0 w 21"/>
                <a:gd name="T11" fmla="*/ 2147483647 h 1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21"/>
                <a:gd name="T19" fmla="*/ 0 h 15"/>
                <a:gd name="T20" fmla="*/ 21 w 21"/>
                <a:gd name="T21" fmla="*/ 15 h 15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21" h="15">
                  <a:moveTo>
                    <a:pt x="0" y="15"/>
                  </a:moveTo>
                  <a:lnTo>
                    <a:pt x="12" y="0"/>
                  </a:lnTo>
                  <a:lnTo>
                    <a:pt x="21" y="10"/>
                  </a:lnTo>
                  <a:lnTo>
                    <a:pt x="0" y="15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9193" name="Freeform 42"/>
            <p:cNvSpPr>
              <a:spLocks/>
            </p:cNvSpPr>
            <p:nvPr/>
          </p:nvSpPr>
          <p:spPr bwMode="auto">
            <a:xfrm>
              <a:off x="7278688" y="2143125"/>
              <a:ext cx="211137" cy="428625"/>
            </a:xfrm>
            <a:custGeom>
              <a:avLst/>
              <a:gdLst>
                <a:gd name="T0" fmla="*/ 2147483647 w 139"/>
                <a:gd name="T1" fmla="*/ 2147483647 h 263"/>
                <a:gd name="T2" fmla="*/ 2147483647 w 139"/>
                <a:gd name="T3" fmla="*/ 2147483647 h 263"/>
                <a:gd name="T4" fmla="*/ 2147483647 w 139"/>
                <a:gd name="T5" fmla="*/ 2147483647 h 263"/>
                <a:gd name="T6" fmla="*/ 2147483647 w 139"/>
                <a:gd name="T7" fmla="*/ 2147483647 h 263"/>
                <a:gd name="T8" fmla="*/ 2147483647 w 139"/>
                <a:gd name="T9" fmla="*/ 2147483647 h 263"/>
                <a:gd name="T10" fmla="*/ 2147483647 w 139"/>
                <a:gd name="T11" fmla="*/ 2147483647 h 263"/>
                <a:gd name="T12" fmla="*/ 2147483647 w 139"/>
                <a:gd name="T13" fmla="*/ 0 h 263"/>
                <a:gd name="T14" fmla="*/ 0 w 139"/>
                <a:gd name="T15" fmla="*/ 2147483647 h 263"/>
                <a:gd name="T16" fmla="*/ 2147483647 w 139"/>
                <a:gd name="T17" fmla="*/ 2147483647 h 263"/>
                <a:gd name="T18" fmla="*/ 2147483647 w 139"/>
                <a:gd name="T19" fmla="*/ 2147483647 h 263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39"/>
                <a:gd name="T31" fmla="*/ 0 h 263"/>
                <a:gd name="T32" fmla="*/ 139 w 139"/>
                <a:gd name="T33" fmla="*/ 263 h 263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39" h="263">
                  <a:moveTo>
                    <a:pt x="23" y="108"/>
                  </a:moveTo>
                  <a:lnTo>
                    <a:pt x="29" y="155"/>
                  </a:lnTo>
                  <a:lnTo>
                    <a:pt x="63" y="263"/>
                  </a:lnTo>
                  <a:lnTo>
                    <a:pt x="125" y="249"/>
                  </a:lnTo>
                  <a:lnTo>
                    <a:pt x="121" y="96"/>
                  </a:lnTo>
                  <a:lnTo>
                    <a:pt x="136" y="65"/>
                  </a:lnTo>
                  <a:lnTo>
                    <a:pt x="139" y="0"/>
                  </a:lnTo>
                  <a:lnTo>
                    <a:pt x="0" y="33"/>
                  </a:lnTo>
                  <a:lnTo>
                    <a:pt x="23" y="108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9194" name="Freeform 43"/>
            <p:cNvSpPr>
              <a:spLocks/>
            </p:cNvSpPr>
            <p:nvPr/>
          </p:nvSpPr>
          <p:spPr bwMode="auto">
            <a:xfrm>
              <a:off x="7461250" y="2079625"/>
              <a:ext cx="195263" cy="469900"/>
            </a:xfrm>
            <a:custGeom>
              <a:avLst/>
              <a:gdLst>
                <a:gd name="T0" fmla="*/ 0 w 127"/>
                <a:gd name="T1" fmla="*/ 2147483647 h 287"/>
                <a:gd name="T2" fmla="*/ 2147483647 w 127"/>
                <a:gd name="T3" fmla="*/ 2147483647 h 287"/>
                <a:gd name="T4" fmla="*/ 2147483647 w 127"/>
                <a:gd name="T5" fmla="*/ 2147483647 h 287"/>
                <a:gd name="T6" fmla="*/ 2147483647 w 127"/>
                <a:gd name="T7" fmla="*/ 2147483647 h 287"/>
                <a:gd name="T8" fmla="*/ 2147483647 w 127"/>
                <a:gd name="T9" fmla="*/ 0 h 287"/>
                <a:gd name="T10" fmla="*/ 2147483647 w 127"/>
                <a:gd name="T11" fmla="*/ 2147483647 h 287"/>
                <a:gd name="T12" fmla="*/ 2147483647 w 127"/>
                <a:gd name="T13" fmla="*/ 2147483647 h 287"/>
                <a:gd name="T14" fmla="*/ 2147483647 w 127"/>
                <a:gd name="T15" fmla="*/ 2147483647 h 287"/>
                <a:gd name="T16" fmla="*/ 2147483647 w 127"/>
                <a:gd name="T17" fmla="*/ 2147483647 h 287"/>
                <a:gd name="T18" fmla="*/ 2147483647 w 127"/>
                <a:gd name="T19" fmla="*/ 2147483647 h 287"/>
                <a:gd name="T20" fmla="*/ 0 w 127"/>
                <a:gd name="T21" fmla="*/ 2147483647 h 287"/>
                <a:gd name="T22" fmla="*/ 0 w 127"/>
                <a:gd name="T23" fmla="*/ 2147483647 h 287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127"/>
                <a:gd name="T37" fmla="*/ 0 h 287"/>
                <a:gd name="T38" fmla="*/ 127 w 127"/>
                <a:gd name="T39" fmla="*/ 287 h 287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127" h="287">
                  <a:moveTo>
                    <a:pt x="0" y="134"/>
                  </a:moveTo>
                  <a:lnTo>
                    <a:pt x="15" y="103"/>
                  </a:lnTo>
                  <a:lnTo>
                    <a:pt x="18" y="38"/>
                  </a:lnTo>
                  <a:lnTo>
                    <a:pt x="16" y="13"/>
                  </a:lnTo>
                  <a:lnTo>
                    <a:pt x="41" y="0"/>
                  </a:lnTo>
                  <a:lnTo>
                    <a:pt x="99" y="180"/>
                  </a:lnTo>
                  <a:lnTo>
                    <a:pt x="127" y="218"/>
                  </a:lnTo>
                  <a:lnTo>
                    <a:pt x="126" y="243"/>
                  </a:lnTo>
                  <a:lnTo>
                    <a:pt x="99" y="262"/>
                  </a:lnTo>
                  <a:lnTo>
                    <a:pt x="4" y="287"/>
                  </a:lnTo>
                  <a:lnTo>
                    <a:pt x="0" y="134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9195" name="Freeform 44"/>
            <p:cNvSpPr>
              <a:spLocks/>
            </p:cNvSpPr>
            <p:nvPr/>
          </p:nvSpPr>
          <p:spPr bwMode="auto">
            <a:xfrm>
              <a:off x="7524750" y="1662113"/>
              <a:ext cx="476250" cy="776287"/>
            </a:xfrm>
            <a:custGeom>
              <a:avLst/>
              <a:gdLst>
                <a:gd name="T0" fmla="*/ 0 w 312"/>
                <a:gd name="T1" fmla="*/ 2147483647 h 475"/>
                <a:gd name="T2" fmla="*/ 2147483647 w 312"/>
                <a:gd name="T3" fmla="*/ 2147483647 h 475"/>
                <a:gd name="T4" fmla="*/ 2147483647 w 312"/>
                <a:gd name="T5" fmla="*/ 2147483647 h 475"/>
                <a:gd name="T6" fmla="*/ 2147483647 w 312"/>
                <a:gd name="T7" fmla="*/ 2147483647 h 475"/>
                <a:gd name="T8" fmla="*/ 2147483647 w 312"/>
                <a:gd name="T9" fmla="*/ 2147483647 h 475"/>
                <a:gd name="T10" fmla="*/ 2147483647 w 312"/>
                <a:gd name="T11" fmla="*/ 2147483647 h 475"/>
                <a:gd name="T12" fmla="*/ 2147483647 w 312"/>
                <a:gd name="T13" fmla="*/ 2147483647 h 475"/>
                <a:gd name="T14" fmla="*/ 2147483647 w 312"/>
                <a:gd name="T15" fmla="*/ 2147483647 h 475"/>
                <a:gd name="T16" fmla="*/ 2147483647 w 312"/>
                <a:gd name="T17" fmla="*/ 2147483647 h 475"/>
                <a:gd name="T18" fmla="*/ 2147483647 w 312"/>
                <a:gd name="T19" fmla="*/ 0 h 475"/>
                <a:gd name="T20" fmla="*/ 2147483647 w 312"/>
                <a:gd name="T21" fmla="*/ 2147483647 h 475"/>
                <a:gd name="T22" fmla="*/ 2147483647 w 312"/>
                <a:gd name="T23" fmla="*/ 2147483647 h 475"/>
                <a:gd name="T24" fmla="*/ 2147483647 w 312"/>
                <a:gd name="T25" fmla="*/ 2147483647 h 475"/>
                <a:gd name="T26" fmla="*/ 2147483647 w 312"/>
                <a:gd name="T27" fmla="*/ 2147483647 h 475"/>
                <a:gd name="T28" fmla="*/ 2147483647 w 312"/>
                <a:gd name="T29" fmla="*/ 2147483647 h 475"/>
                <a:gd name="T30" fmla="*/ 2147483647 w 312"/>
                <a:gd name="T31" fmla="*/ 2147483647 h 475"/>
                <a:gd name="T32" fmla="*/ 2147483647 w 312"/>
                <a:gd name="T33" fmla="*/ 2147483647 h 475"/>
                <a:gd name="T34" fmla="*/ 2147483647 w 312"/>
                <a:gd name="T35" fmla="*/ 2147483647 h 475"/>
                <a:gd name="T36" fmla="*/ 2147483647 w 312"/>
                <a:gd name="T37" fmla="*/ 2147483647 h 475"/>
                <a:gd name="T38" fmla="*/ 2147483647 w 312"/>
                <a:gd name="T39" fmla="*/ 2147483647 h 475"/>
                <a:gd name="T40" fmla="*/ 2147483647 w 312"/>
                <a:gd name="T41" fmla="*/ 2147483647 h 475"/>
                <a:gd name="T42" fmla="*/ 2147483647 w 312"/>
                <a:gd name="T43" fmla="*/ 2147483647 h 475"/>
                <a:gd name="T44" fmla="*/ 2147483647 w 312"/>
                <a:gd name="T45" fmla="*/ 2147483647 h 475"/>
                <a:gd name="T46" fmla="*/ 2147483647 w 312"/>
                <a:gd name="T47" fmla="*/ 2147483647 h 475"/>
                <a:gd name="T48" fmla="*/ 2147483647 w 312"/>
                <a:gd name="T49" fmla="*/ 2147483647 h 475"/>
                <a:gd name="T50" fmla="*/ 2147483647 w 312"/>
                <a:gd name="T51" fmla="*/ 2147483647 h 475"/>
                <a:gd name="T52" fmla="*/ 2147483647 w 312"/>
                <a:gd name="T53" fmla="*/ 2147483647 h 475"/>
                <a:gd name="T54" fmla="*/ 2147483647 w 312"/>
                <a:gd name="T55" fmla="*/ 2147483647 h 475"/>
                <a:gd name="T56" fmla="*/ 2147483647 w 312"/>
                <a:gd name="T57" fmla="*/ 2147483647 h 475"/>
                <a:gd name="T58" fmla="*/ 2147483647 w 312"/>
                <a:gd name="T59" fmla="*/ 2147483647 h 475"/>
                <a:gd name="T60" fmla="*/ 2147483647 w 312"/>
                <a:gd name="T61" fmla="*/ 2147483647 h 475"/>
                <a:gd name="T62" fmla="*/ 2147483647 w 312"/>
                <a:gd name="T63" fmla="*/ 2147483647 h 475"/>
                <a:gd name="T64" fmla="*/ 2147483647 w 312"/>
                <a:gd name="T65" fmla="*/ 2147483647 h 475"/>
                <a:gd name="T66" fmla="*/ 0 w 312"/>
                <a:gd name="T67" fmla="*/ 2147483647 h 475"/>
                <a:gd name="T68" fmla="*/ 0 w 312"/>
                <a:gd name="T69" fmla="*/ 2147483647 h 475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312"/>
                <a:gd name="T106" fmla="*/ 0 h 475"/>
                <a:gd name="T107" fmla="*/ 312 w 312"/>
                <a:gd name="T108" fmla="*/ 475 h 475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312" h="475">
                  <a:moveTo>
                    <a:pt x="0" y="257"/>
                  </a:moveTo>
                  <a:lnTo>
                    <a:pt x="18" y="258"/>
                  </a:lnTo>
                  <a:lnTo>
                    <a:pt x="20" y="227"/>
                  </a:lnTo>
                  <a:lnTo>
                    <a:pt x="42" y="185"/>
                  </a:lnTo>
                  <a:lnTo>
                    <a:pt x="31" y="154"/>
                  </a:lnTo>
                  <a:lnTo>
                    <a:pt x="76" y="5"/>
                  </a:lnTo>
                  <a:lnTo>
                    <a:pt x="85" y="5"/>
                  </a:lnTo>
                  <a:lnTo>
                    <a:pt x="89" y="24"/>
                  </a:lnTo>
                  <a:lnTo>
                    <a:pt x="134" y="8"/>
                  </a:lnTo>
                  <a:lnTo>
                    <a:pt x="135" y="0"/>
                  </a:lnTo>
                  <a:lnTo>
                    <a:pt x="171" y="8"/>
                  </a:lnTo>
                  <a:lnTo>
                    <a:pt x="229" y="155"/>
                  </a:lnTo>
                  <a:lnTo>
                    <a:pt x="256" y="157"/>
                  </a:lnTo>
                  <a:lnTo>
                    <a:pt x="303" y="211"/>
                  </a:lnTo>
                  <a:lnTo>
                    <a:pt x="297" y="221"/>
                  </a:lnTo>
                  <a:lnTo>
                    <a:pt x="312" y="221"/>
                  </a:lnTo>
                  <a:lnTo>
                    <a:pt x="302" y="248"/>
                  </a:lnTo>
                  <a:lnTo>
                    <a:pt x="278" y="264"/>
                  </a:lnTo>
                  <a:lnTo>
                    <a:pt x="250" y="279"/>
                  </a:lnTo>
                  <a:lnTo>
                    <a:pt x="247" y="297"/>
                  </a:lnTo>
                  <a:lnTo>
                    <a:pt x="234" y="280"/>
                  </a:lnTo>
                  <a:lnTo>
                    <a:pt x="208" y="300"/>
                  </a:lnTo>
                  <a:lnTo>
                    <a:pt x="198" y="300"/>
                  </a:lnTo>
                  <a:lnTo>
                    <a:pt x="187" y="288"/>
                  </a:lnTo>
                  <a:lnTo>
                    <a:pt x="182" y="345"/>
                  </a:lnTo>
                  <a:lnTo>
                    <a:pt x="159" y="354"/>
                  </a:lnTo>
                  <a:lnTo>
                    <a:pt x="149" y="376"/>
                  </a:lnTo>
                  <a:lnTo>
                    <a:pt x="135" y="376"/>
                  </a:lnTo>
                  <a:lnTo>
                    <a:pt x="104" y="409"/>
                  </a:lnTo>
                  <a:lnTo>
                    <a:pt x="103" y="435"/>
                  </a:lnTo>
                  <a:lnTo>
                    <a:pt x="95" y="446"/>
                  </a:lnTo>
                  <a:lnTo>
                    <a:pt x="86" y="475"/>
                  </a:lnTo>
                  <a:lnTo>
                    <a:pt x="58" y="437"/>
                  </a:lnTo>
                  <a:lnTo>
                    <a:pt x="0" y="257"/>
                  </a:lnTo>
                  <a:close/>
                </a:path>
              </a:pathLst>
            </a:custGeom>
            <a:solidFill>
              <a:srgbClr val="FFFF99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9196" name="Freeform 45">
              <a:hlinkClick r:id="rId7"/>
            </p:cNvPr>
            <p:cNvSpPr>
              <a:spLocks/>
            </p:cNvSpPr>
            <p:nvPr/>
          </p:nvSpPr>
          <p:spPr bwMode="auto">
            <a:xfrm>
              <a:off x="1509713" y="1355725"/>
              <a:ext cx="928687" cy="685800"/>
            </a:xfrm>
            <a:custGeom>
              <a:avLst/>
              <a:gdLst>
                <a:gd name="T0" fmla="*/ 2147483647 w 570"/>
                <a:gd name="T1" fmla="*/ 2147483647 h 402"/>
                <a:gd name="T2" fmla="*/ 2147483647 w 570"/>
                <a:gd name="T3" fmla="*/ 2147483647 h 402"/>
                <a:gd name="T4" fmla="*/ 2147483647 w 570"/>
                <a:gd name="T5" fmla="*/ 2147483647 h 402"/>
                <a:gd name="T6" fmla="*/ 2147483647 w 570"/>
                <a:gd name="T7" fmla="*/ 2147483647 h 402"/>
                <a:gd name="T8" fmla="*/ 2147483647 w 570"/>
                <a:gd name="T9" fmla="*/ 2147483647 h 402"/>
                <a:gd name="T10" fmla="*/ 0 w 570"/>
                <a:gd name="T11" fmla="*/ 2147483647 h 402"/>
                <a:gd name="T12" fmla="*/ 2147483647 w 570"/>
                <a:gd name="T13" fmla="*/ 2147483647 h 402"/>
                <a:gd name="T14" fmla="*/ 2147483647 w 570"/>
                <a:gd name="T15" fmla="*/ 2147483647 h 402"/>
                <a:gd name="T16" fmla="*/ 2147483647 w 570"/>
                <a:gd name="T17" fmla="*/ 2147483647 h 402"/>
                <a:gd name="T18" fmla="*/ 2147483647 w 570"/>
                <a:gd name="T19" fmla="*/ 2147483647 h 402"/>
                <a:gd name="T20" fmla="*/ 2147483647 w 570"/>
                <a:gd name="T21" fmla="*/ 2147483647 h 402"/>
                <a:gd name="T22" fmla="*/ 2147483647 w 570"/>
                <a:gd name="T23" fmla="*/ 2147483647 h 402"/>
                <a:gd name="T24" fmla="*/ 2147483647 w 570"/>
                <a:gd name="T25" fmla="*/ 2147483647 h 402"/>
                <a:gd name="T26" fmla="*/ 2147483647 w 570"/>
                <a:gd name="T27" fmla="*/ 2147483647 h 402"/>
                <a:gd name="T28" fmla="*/ 2147483647 w 570"/>
                <a:gd name="T29" fmla="*/ 2147483647 h 402"/>
                <a:gd name="T30" fmla="*/ 2147483647 w 570"/>
                <a:gd name="T31" fmla="*/ 2147483647 h 402"/>
                <a:gd name="T32" fmla="*/ 2147483647 w 570"/>
                <a:gd name="T33" fmla="*/ 2147483647 h 402"/>
                <a:gd name="T34" fmla="*/ 2147483647 w 570"/>
                <a:gd name="T35" fmla="*/ 0 h 402"/>
                <a:gd name="T36" fmla="*/ 2147483647 w 570"/>
                <a:gd name="T37" fmla="*/ 2147483647 h 402"/>
                <a:gd name="T38" fmla="*/ 2147483647 w 570"/>
                <a:gd name="T39" fmla="*/ 2147483647 h 402"/>
                <a:gd name="T40" fmla="*/ 2147483647 w 570"/>
                <a:gd name="T41" fmla="*/ 2147483647 h 402"/>
                <a:gd name="T42" fmla="*/ 2147483647 w 570"/>
                <a:gd name="T43" fmla="*/ 2147483647 h 402"/>
                <a:gd name="T44" fmla="*/ 2147483647 w 570"/>
                <a:gd name="T45" fmla="*/ 2147483647 h 402"/>
                <a:gd name="T46" fmla="*/ 2147483647 w 570"/>
                <a:gd name="T47" fmla="*/ 2147483647 h 402"/>
                <a:gd name="T48" fmla="*/ 2147483647 w 570"/>
                <a:gd name="T49" fmla="*/ 2147483647 h 402"/>
                <a:gd name="T50" fmla="*/ 2147483647 w 570"/>
                <a:gd name="T51" fmla="*/ 2147483647 h 402"/>
                <a:gd name="T52" fmla="*/ 2147483647 w 570"/>
                <a:gd name="T53" fmla="*/ 2147483647 h 402"/>
                <a:gd name="T54" fmla="*/ 2147483647 w 570"/>
                <a:gd name="T55" fmla="*/ 2147483647 h 402"/>
                <a:gd name="T56" fmla="*/ 2147483647 w 570"/>
                <a:gd name="T57" fmla="*/ 2147483647 h 402"/>
                <a:gd name="T58" fmla="*/ 2147483647 w 570"/>
                <a:gd name="T59" fmla="*/ 2147483647 h 402"/>
                <a:gd name="T60" fmla="*/ 2147483647 w 570"/>
                <a:gd name="T61" fmla="*/ 2147483647 h 402"/>
                <a:gd name="T62" fmla="*/ 2147483647 w 570"/>
                <a:gd name="T63" fmla="*/ 2147483647 h 402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w 570"/>
                <a:gd name="T97" fmla="*/ 0 h 402"/>
                <a:gd name="T98" fmla="*/ 570 w 570"/>
                <a:gd name="T99" fmla="*/ 402 h 402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T96" t="T97" r="T98" b="T99"/>
              <a:pathLst>
                <a:path w="570" h="402">
                  <a:moveTo>
                    <a:pt x="21" y="87"/>
                  </a:moveTo>
                  <a:lnTo>
                    <a:pt x="13" y="198"/>
                  </a:lnTo>
                  <a:lnTo>
                    <a:pt x="27" y="198"/>
                  </a:lnTo>
                  <a:lnTo>
                    <a:pt x="19" y="222"/>
                  </a:lnTo>
                  <a:lnTo>
                    <a:pt x="9" y="208"/>
                  </a:lnTo>
                  <a:lnTo>
                    <a:pt x="0" y="236"/>
                  </a:lnTo>
                  <a:lnTo>
                    <a:pt x="40" y="259"/>
                  </a:lnTo>
                  <a:lnTo>
                    <a:pt x="42" y="269"/>
                  </a:lnTo>
                  <a:lnTo>
                    <a:pt x="52" y="270"/>
                  </a:lnTo>
                  <a:lnTo>
                    <a:pt x="104" y="351"/>
                  </a:lnTo>
                  <a:lnTo>
                    <a:pt x="162" y="348"/>
                  </a:lnTo>
                  <a:lnTo>
                    <a:pt x="205" y="368"/>
                  </a:lnTo>
                  <a:lnTo>
                    <a:pt x="226" y="365"/>
                  </a:lnTo>
                  <a:lnTo>
                    <a:pt x="356" y="368"/>
                  </a:lnTo>
                  <a:lnTo>
                    <a:pt x="505" y="402"/>
                  </a:lnTo>
                  <a:lnTo>
                    <a:pt x="508" y="357"/>
                  </a:lnTo>
                  <a:lnTo>
                    <a:pt x="570" y="101"/>
                  </a:lnTo>
                  <a:lnTo>
                    <a:pt x="175" y="0"/>
                  </a:lnTo>
                  <a:lnTo>
                    <a:pt x="178" y="76"/>
                  </a:lnTo>
                  <a:lnTo>
                    <a:pt x="159" y="138"/>
                  </a:lnTo>
                  <a:lnTo>
                    <a:pt x="156" y="170"/>
                  </a:lnTo>
                  <a:lnTo>
                    <a:pt x="114" y="182"/>
                  </a:lnTo>
                  <a:lnTo>
                    <a:pt x="111" y="166"/>
                  </a:lnTo>
                  <a:lnTo>
                    <a:pt x="146" y="145"/>
                  </a:lnTo>
                  <a:lnTo>
                    <a:pt x="143" y="129"/>
                  </a:lnTo>
                  <a:lnTo>
                    <a:pt x="113" y="132"/>
                  </a:lnTo>
                  <a:lnTo>
                    <a:pt x="135" y="113"/>
                  </a:lnTo>
                  <a:lnTo>
                    <a:pt x="151" y="99"/>
                  </a:lnTo>
                  <a:lnTo>
                    <a:pt x="24" y="20"/>
                  </a:lnTo>
                  <a:lnTo>
                    <a:pt x="13" y="42"/>
                  </a:lnTo>
                  <a:lnTo>
                    <a:pt x="21" y="87"/>
                  </a:lnTo>
                  <a:close/>
                </a:path>
              </a:pathLst>
            </a:custGeom>
            <a:solidFill>
              <a:srgbClr val="006600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9197" name="Freeform 46">
              <a:hlinkClick r:id="rId8"/>
            </p:cNvPr>
            <p:cNvSpPr>
              <a:spLocks/>
            </p:cNvSpPr>
            <p:nvPr/>
          </p:nvSpPr>
          <p:spPr bwMode="auto">
            <a:xfrm>
              <a:off x="2339975" y="2757488"/>
              <a:ext cx="738188" cy="952500"/>
            </a:xfrm>
            <a:custGeom>
              <a:avLst/>
              <a:gdLst>
                <a:gd name="T0" fmla="*/ 2147483647 w 483"/>
                <a:gd name="T1" fmla="*/ 0 h 584"/>
                <a:gd name="T2" fmla="*/ 2147483647 w 483"/>
                <a:gd name="T3" fmla="*/ 2147483647 h 584"/>
                <a:gd name="T4" fmla="*/ 2147483647 w 483"/>
                <a:gd name="T5" fmla="*/ 2147483647 h 584"/>
                <a:gd name="T6" fmla="*/ 2147483647 w 483"/>
                <a:gd name="T7" fmla="*/ 2147483647 h 584"/>
                <a:gd name="T8" fmla="*/ 2147483647 w 483"/>
                <a:gd name="T9" fmla="*/ 2147483647 h 584"/>
                <a:gd name="T10" fmla="*/ 0 w 483"/>
                <a:gd name="T11" fmla="*/ 2147483647 h 584"/>
                <a:gd name="T12" fmla="*/ 2147483647 w 483"/>
                <a:gd name="T13" fmla="*/ 0 h 584"/>
                <a:gd name="T14" fmla="*/ 2147483647 w 483"/>
                <a:gd name="T15" fmla="*/ 0 h 584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483"/>
                <a:gd name="T25" fmla="*/ 0 h 584"/>
                <a:gd name="T26" fmla="*/ 483 w 483"/>
                <a:gd name="T27" fmla="*/ 584 h 584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483" h="584">
                  <a:moveTo>
                    <a:pt x="106" y="0"/>
                  </a:moveTo>
                  <a:lnTo>
                    <a:pt x="339" y="42"/>
                  </a:lnTo>
                  <a:lnTo>
                    <a:pt x="321" y="144"/>
                  </a:lnTo>
                  <a:lnTo>
                    <a:pt x="483" y="169"/>
                  </a:lnTo>
                  <a:lnTo>
                    <a:pt x="421" y="584"/>
                  </a:lnTo>
                  <a:lnTo>
                    <a:pt x="0" y="514"/>
                  </a:lnTo>
                  <a:lnTo>
                    <a:pt x="106" y="0"/>
                  </a:lnTo>
                  <a:close/>
                </a:path>
              </a:pathLst>
            </a:custGeom>
            <a:solidFill>
              <a:srgbClr val="99CC00"/>
            </a:solidFill>
            <a:ln w="9525">
              <a:solidFill>
                <a:schemeClr val="folHlink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9198" name="Freeform 47">
              <a:hlinkClick r:id="rId7"/>
            </p:cNvPr>
            <p:cNvSpPr>
              <a:spLocks/>
            </p:cNvSpPr>
            <p:nvPr/>
          </p:nvSpPr>
          <p:spPr bwMode="auto">
            <a:xfrm>
              <a:off x="1325564" y="1756578"/>
              <a:ext cx="1038225" cy="912812"/>
            </a:xfrm>
            <a:custGeom>
              <a:avLst/>
              <a:gdLst>
                <a:gd name="T0" fmla="*/ 0 w 680"/>
                <a:gd name="T1" fmla="*/ 2147483647 h 559"/>
                <a:gd name="T2" fmla="*/ 2147483647 w 680"/>
                <a:gd name="T3" fmla="*/ 2147483647 h 559"/>
                <a:gd name="T4" fmla="*/ 2147483647 w 680"/>
                <a:gd name="T5" fmla="*/ 2147483647 h 559"/>
                <a:gd name="T6" fmla="*/ 2147483647 w 680"/>
                <a:gd name="T7" fmla="*/ 0 h 559"/>
                <a:gd name="T8" fmla="*/ 2147483647 w 680"/>
                <a:gd name="T9" fmla="*/ 2147483647 h 559"/>
                <a:gd name="T10" fmla="*/ 2147483647 w 680"/>
                <a:gd name="T11" fmla="*/ 2147483647 h 559"/>
                <a:gd name="T12" fmla="*/ 2147483647 w 680"/>
                <a:gd name="T13" fmla="*/ 2147483647 h 559"/>
                <a:gd name="T14" fmla="*/ 2147483647 w 680"/>
                <a:gd name="T15" fmla="*/ 2147483647 h 559"/>
                <a:gd name="T16" fmla="*/ 2147483647 w 680"/>
                <a:gd name="T17" fmla="*/ 2147483647 h 559"/>
                <a:gd name="T18" fmla="*/ 2147483647 w 680"/>
                <a:gd name="T19" fmla="*/ 2147483647 h 559"/>
                <a:gd name="T20" fmla="*/ 2147483647 w 680"/>
                <a:gd name="T21" fmla="*/ 2147483647 h 559"/>
                <a:gd name="T22" fmla="*/ 2147483647 w 680"/>
                <a:gd name="T23" fmla="*/ 2147483647 h 559"/>
                <a:gd name="T24" fmla="*/ 2147483647 w 680"/>
                <a:gd name="T25" fmla="*/ 2147483647 h 559"/>
                <a:gd name="T26" fmla="*/ 2147483647 w 680"/>
                <a:gd name="T27" fmla="*/ 2147483647 h 559"/>
                <a:gd name="T28" fmla="*/ 2147483647 w 680"/>
                <a:gd name="T29" fmla="*/ 2147483647 h 559"/>
                <a:gd name="T30" fmla="*/ 2147483647 w 680"/>
                <a:gd name="T31" fmla="*/ 2147483647 h 559"/>
                <a:gd name="T32" fmla="*/ 2147483647 w 680"/>
                <a:gd name="T33" fmla="*/ 2147483647 h 559"/>
                <a:gd name="T34" fmla="*/ 2147483647 w 680"/>
                <a:gd name="T35" fmla="*/ 2147483647 h 559"/>
                <a:gd name="T36" fmla="*/ 2147483647 w 680"/>
                <a:gd name="T37" fmla="*/ 2147483647 h 559"/>
                <a:gd name="T38" fmla="*/ 2147483647 w 680"/>
                <a:gd name="T39" fmla="*/ 2147483647 h 559"/>
                <a:gd name="T40" fmla="*/ 2147483647 w 680"/>
                <a:gd name="T41" fmla="*/ 2147483647 h 559"/>
                <a:gd name="T42" fmla="*/ 2147483647 w 680"/>
                <a:gd name="T43" fmla="*/ 2147483647 h 559"/>
                <a:gd name="T44" fmla="*/ 0 w 680"/>
                <a:gd name="T45" fmla="*/ 2147483647 h 559"/>
                <a:gd name="T46" fmla="*/ 0 w 680"/>
                <a:gd name="T47" fmla="*/ 2147483647 h 559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w 680"/>
                <a:gd name="T73" fmla="*/ 0 h 559"/>
                <a:gd name="T74" fmla="*/ 680 w 680"/>
                <a:gd name="T75" fmla="*/ 559 h 559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T72" t="T73" r="T74" b="T75"/>
              <a:pathLst>
                <a:path w="680" h="559">
                  <a:moveTo>
                    <a:pt x="0" y="417"/>
                  </a:moveTo>
                  <a:lnTo>
                    <a:pt x="30" y="276"/>
                  </a:lnTo>
                  <a:lnTo>
                    <a:pt x="64" y="235"/>
                  </a:lnTo>
                  <a:lnTo>
                    <a:pt x="147" y="0"/>
                  </a:lnTo>
                  <a:lnTo>
                    <a:pt x="190" y="12"/>
                  </a:lnTo>
                  <a:lnTo>
                    <a:pt x="192" y="22"/>
                  </a:lnTo>
                  <a:lnTo>
                    <a:pt x="202" y="24"/>
                  </a:lnTo>
                  <a:lnTo>
                    <a:pt x="254" y="105"/>
                  </a:lnTo>
                  <a:lnTo>
                    <a:pt x="312" y="103"/>
                  </a:lnTo>
                  <a:lnTo>
                    <a:pt x="355" y="123"/>
                  </a:lnTo>
                  <a:lnTo>
                    <a:pt x="376" y="118"/>
                  </a:lnTo>
                  <a:lnTo>
                    <a:pt x="506" y="123"/>
                  </a:lnTo>
                  <a:lnTo>
                    <a:pt x="655" y="155"/>
                  </a:lnTo>
                  <a:lnTo>
                    <a:pt x="662" y="174"/>
                  </a:lnTo>
                  <a:lnTo>
                    <a:pt x="680" y="199"/>
                  </a:lnTo>
                  <a:lnTo>
                    <a:pt x="630" y="274"/>
                  </a:lnTo>
                  <a:lnTo>
                    <a:pt x="599" y="302"/>
                  </a:lnTo>
                  <a:lnTo>
                    <a:pt x="594" y="323"/>
                  </a:lnTo>
                  <a:lnTo>
                    <a:pt x="612" y="345"/>
                  </a:lnTo>
                  <a:lnTo>
                    <a:pt x="591" y="391"/>
                  </a:lnTo>
                  <a:lnTo>
                    <a:pt x="550" y="559"/>
                  </a:lnTo>
                  <a:lnTo>
                    <a:pt x="321" y="504"/>
                  </a:lnTo>
                  <a:lnTo>
                    <a:pt x="0" y="417"/>
                  </a:lnTo>
                  <a:close/>
                </a:path>
              </a:pathLst>
            </a:custGeom>
            <a:solidFill>
              <a:srgbClr val="006600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9199" name="Freeform 48">
              <a:hlinkClick r:id="rId7"/>
            </p:cNvPr>
            <p:cNvSpPr>
              <a:spLocks/>
            </p:cNvSpPr>
            <p:nvPr/>
          </p:nvSpPr>
          <p:spPr bwMode="auto">
            <a:xfrm>
              <a:off x="1677988" y="2587625"/>
              <a:ext cx="830262" cy="1327150"/>
            </a:xfrm>
            <a:custGeom>
              <a:avLst/>
              <a:gdLst>
                <a:gd name="T0" fmla="*/ 0 w 544"/>
                <a:gd name="T1" fmla="*/ 2147483647 h 813"/>
                <a:gd name="T2" fmla="*/ 2147483647 w 544"/>
                <a:gd name="T3" fmla="*/ 2147483647 h 813"/>
                <a:gd name="T4" fmla="*/ 2147483647 w 544"/>
                <a:gd name="T5" fmla="*/ 2147483647 h 813"/>
                <a:gd name="T6" fmla="*/ 2147483647 w 544"/>
                <a:gd name="T7" fmla="*/ 2147483647 h 813"/>
                <a:gd name="T8" fmla="*/ 2147483647 w 544"/>
                <a:gd name="T9" fmla="*/ 2147483647 h 813"/>
                <a:gd name="T10" fmla="*/ 2147483647 w 544"/>
                <a:gd name="T11" fmla="*/ 2147483647 h 813"/>
                <a:gd name="T12" fmla="*/ 2147483647 w 544"/>
                <a:gd name="T13" fmla="*/ 2147483647 h 813"/>
                <a:gd name="T14" fmla="*/ 2147483647 w 544"/>
                <a:gd name="T15" fmla="*/ 2147483647 h 813"/>
                <a:gd name="T16" fmla="*/ 2147483647 w 544"/>
                <a:gd name="T17" fmla="*/ 0 h 813"/>
                <a:gd name="T18" fmla="*/ 0 w 544"/>
                <a:gd name="T19" fmla="*/ 2147483647 h 813"/>
                <a:gd name="T20" fmla="*/ 0 w 544"/>
                <a:gd name="T21" fmla="*/ 2147483647 h 813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544"/>
                <a:gd name="T34" fmla="*/ 0 h 813"/>
                <a:gd name="T35" fmla="*/ 544 w 544"/>
                <a:gd name="T36" fmla="*/ 813 h 813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544" h="813">
                  <a:moveTo>
                    <a:pt x="0" y="298"/>
                  </a:moveTo>
                  <a:lnTo>
                    <a:pt x="346" y="813"/>
                  </a:lnTo>
                  <a:lnTo>
                    <a:pt x="358" y="702"/>
                  </a:lnTo>
                  <a:lnTo>
                    <a:pt x="377" y="696"/>
                  </a:lnTo>
                  <a:lnTo>
                    <a:pt x="410" y="716"/>
                  </a:lnTo>
                  <a:lnTo>
                    <a:pt x="438" y="618"/>
                  </a:lnTo>
                  <a:lnTo>
                    <a:pt x="544" y="104"/>
                  </a:lnTo>
                  <a:lnTo>
                    <a:pt x="311" y="55"/>
                  </a:lnTo>
                  <a:lnTo>
                    <a:pt x="82" y="0"/>
                  </a:lnTo>
                  <a:lnTo>
                    <a:pt x="0" y="298"/>
                  </a:lnTo>
                  <a:close/>
                </a:path>
              </a:pathLst>
            </a:custGeom>
            <a:solidFill>
              <a:srgbClr val="006600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9200" name="Freeform 49">
              <a:hlinkClick r:id="rId7"/>
            </p:cNvPr>
            <p:cNvSpPr>
              <a:spLocks/>
            </p:cNvSpPr>
            <p:nvPr/>
          </p:nvSpPr>
          <p:spPr bwMode="auto">
            <a:xfrm>
              <a:off x="2146300" y="1524000"/>
              <a:ext cx="782638" cy="1301750"/>
            </a:xfrm>
            <a:custGeom>
              <a:avLst/>
              <a:gdLst>
                <a:gd name="T0" fmla="*/ 0 w 511"/>
                <a:gd name="T1" fmla="*/ 2147483647 h 796"/>
                <a:gd name="T2" fmla="*/ 2147483647 w 511"/>
                <a:gd name="T3" fmla="*/ 2147483647 h 796"/>
                <a:gd name="T4" fmla="*/ 2147483647 w 511"/>
                <a:gd name="T5" fmla="*/ 2147483647 h 796"/>
                <a:gd name="T6" fmla="*/ 2147483647 w 511"/>
                <a:gd name="T7" fmla="*/ 2147483647 h 796"/>
                <a:gd name="T8" fmla="*/ 2147483647 w 511"/>
                <a:gd name="T9" fmla="*/ 2147483647 h 796"/>
                <a:gd name="T10" fmla="*/ 2147483647 w 511"/>
                <a:gd name="T11" fmla="*/ 2147483647 h 796"/>
                <a:gd name="T12" fmla="*/ 2147483647 w 511"/>
                <a:gd name="T13" fmla="*/ 2147483647 h 796"/>
                <a:gd name="T14" fmla="*/ 2147483647 w 511"/>
                <a:gd name="T15" fmla="*/ 2147483647 h 796"/>
                <a:gd name="T16" fmla="*/ 2147483647 w 511"/>
                <a:gd name="T17" fmla="*/ 2147483647 h 796"/>
                <a:gd name="T18" fmla="*/ 2147483647 w 511"/>
                <a:gd name="T19" fmla="*/ 2147483647 h 796"/>
                <a:gd name="T20" fmla="*/ 2147483647 w 511"/>
                <a:gd name="T21" fmla="*/ 0 h 796"/>
                <a:gd name="T22" fmla="*/ 2147483647 w 511"/>
                <a:gd name="T23" fmla="*/ 2147483647 h 796"/>
                <a:gd name="T24" fmla="*/ 2147483647 w 511"/>
                <a:gd name="T25" fmla="*/ 2147483647 h 796"/>
                <a:gd name="T26" fmla="*/ 2147483647 w 511"/>
                <a:gd name="T27" fmla="*/ 2147483647 h 796"/>
                <a:gd name="T28" fmla="*/ 2147483647 w 511"/>
                <a:gd name="T29" fmla="*/ 2147483647 h 796"/>
                <a:gd name="T30" fmla="*/ 2147483647 w 511"/>
                <a:gd name="T31" fmla="*/ 2147483647 h 796"/>
                <a:gd name="T32" fmla="*/ 2147483647 w 511"/>
                <a:gd name="T33" fmla="*/ 2147483647 h 796"/>
                <a:gd name="T34" fmla="*/ 2147483647 w 511"/>
                <a:gd name="T35" fmla="*/ 2147483647 h 796"/>
                <a:gd name="T36" fmla="*/ 2147483647 w 511"/>
                <a:gd name="T37" fmla="*/ 2147483647 h 796"/>
                <a:gd name="T38" fmla="*/ 2147483647 w 511"/>
                <a:gd name="T39" fmla="*/ 2147483647 h 796"/>
                <a:gd name="T40" fmla="*/ 2147483647 w 511"/>
                <a:gd name="T41" fmla="*/ 2147483647 h 796"/>
                <a:gd name="T42" fmla="*/ 2147483647 w 511"/>
                <a:gd name="T43" fmla="*/ 2147483647 h 796"/>
                <a:gd name="T44" fmla="*/ 2147483647 w 511"/>
                <a:gd name="T45" fmla="*/ 2147483647 h 796"/>
                <a:gd name="T46" fmla="*/ 2147483647 w 511"/>
                <a:gd name="T47" fmla="*/ 2147483647 h 796"/>
                <a:gd name="T48" fmla="*/ 2147483647 w 511"/>
                <a:gd name="T49" fmla="*/ 2147483647 h 796"/>
                <a:gd name="T50" fmla="*/ 2147483647 w 511"/>
                <a:gd name="T51" fmla="*/ 2147483647 h 796"/>
                <a:gd name="T52" fmla="*/ 2147483647 w 511"/>
                <a:gd name="T53" fmla="*/ 2147483647 h 796"/>
                <a:gd name="T54" fmla="*/ 2147483647 w 511"/>
                <a:gd name="T55" fmla="*/ 2147483647 h 796"/>
                <a:gd name="T56" fmla="*/ 2147483647 w 511"/>
                <a:gd name="T57" fmla="*/ 2147483647 h 796"/>
                <a:gd name="T58" fmla="*/ 2147483647 w 511"/>
                <a:gd name="T59" fmla="*/ 2147483647 h 796"/>
                <a:gd name="T60" fmla="*/ 2147483647 w 511"/>
                <a:gd name="T61" fmla="*/ 2147483647 h 796"/>
                <a:gd name="T62" fmla="*/ 0 w 511"/>
                <a:gd name="T63" fmla="*/ 2147483647 h 796"/>
                <a:gd name="T64" fmla="*/ 0 w 511"/>
                <a:gd name="T65" fmla="*/ 2147483647 h 79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511"/>
                <a:gd name="T100" fmla="*/ 0 h 796"/>
                <a:gd name="T101" fmla="*/ 511 w 511"/>
                <a:gd name="T102" fmla="*/ 796 h 79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511" h="796">
                  <a:moveTo>
                    <a:pt x="0" y="705"/>
                  </a:moveTo>
                  <a:lnTo>
                    <a:pt x="41" y="537"/>
                  </a:lnTo>
                  <a:lnTo>
                    <a:pt x="62" y="491"/>
                  </a:lnTo>
                  <a:lnTo>
                    <a:pt x="44" y="469"/>
                  </a:lnTo>
                  <a:lnTo>
                    <a:pt x="49" y="448"/>
                  </a:lnTo>
                  <a:lnTo>
                    <a:pt x="80" y="420"/>
                  </a:lnTo>
                  <a:lnTo>
                    <a:pt x="130" y="345"/>
                  </a:lnTo>
                  <a:lnTo>
                    <a:pt x="112" y="320"/>
                  </a:lnTo>
                  <a:lnTo>
                    <a:pt x="105" y="301"/>
                  </a:lnTo>
                  <a:lnTo>
                    <a:pt x="108" y="258"/>
                  </a:lnTo>
                  <a:lnTo>
                    <a:pt x="170" y="0"/>
                  </a:lnTo>
                  <a:lnTo>
                    <a:pt x="237" y="15"/>
                  </a:lnTo>
                  <a:lnTo>
                    <a:pt x="215" y="115"/>
                  </a:lnTo>
                  <a:lnTo>
                    <a:pt x="230" y="151"/>
                  </a:lnTo>
                  <a:lnTo>
                    <a:pt x="231" y="173"/>
                  </a:lnTo>
                  <a:lnTo>
                    <a:pt x="224" y="177"/>
                  </a:lnTo>
                  <a:lnTo>
                    <a:pt x="249" y="201"/>
                  </a:lnTo>
                  <a:lnTo>
                    <a:pt x="276" y="266"/>
                  </a:lnTo>
                  <a:lnTo>
                    <a:pt x="285" y="323"/>
                  </a:lnTo>
                  <a:lnTo>
                    <a:pt x="289" y="354"/>
                  </a:lnTo>
                  <a:lnTo>
                    <a:pt x="270" y="384"/>
                  </a:lnTo>
                  <a:lnTo>
                    <a:pt x="283" y="397"/>
                  </a:lnTo>
                  <a:lnTo>
                    <a:pt x="319" y="378"/>
                  </a:lnTo>
                  <a:lnTo>
                    <a:pt x="343" y="479"/>
                  </a:lnTo>
                  <a:lnTo>
                    <a:pt x="359" y="485"/>
                  </a:lnTo>
                  <a:lnTo>
                    <a:pt x="362" y="515"/>
                  </a:lnTo>
                  <a:lnTo>
                    <a:pt x="408" y="527"/>
                  </a:lnTo>
                  <a:lnTo>
                    <a:pt x="481" y="527"/>
                  </a:lnTo>
                  <a:lnTo>
                    <a:pt x="511" y="540"/>
                  </a:lnTo>
                  <a:lnTo>
                    <a:pt x="468" y="796"/>
                  </a:lnTo>
                  <a:lnTo>
                    <a:pt x="233" y="754"/>
                  </a:lnTo>
                  <a:lnTo>
                    <a:pt x="0" y="705"/>
                  </a:lnTo>
                  <a:close/>
                </a:path>
              </a:pathLst>
            </a:custGeom>
            <a:solidFill>
              <a:srgbClr val="006600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9201" name="Freeform 50">
              <a:hlinkClick r:id="rId8"/>
            </p:cNvPr>
            <p:cNvSpPr>
              <a:spLocks/>
            </p:cNvSpPr>
            <p:nvPr/>
          </p:nvSpPr>
          <p:spPr bwMode="auto">
            <a:xfrm>
              <a:off x="2093913" y="3597275"/>
              <a:ext cx="877887" cy="1111250"/>
            </a:xfrm>
            <a:custGeom>
              <a:avLst/>
              <a:gdLst>
                <a:gd name="T0" fmla="*/ 2147483647 w 583"/>
                <a:gd name="T1" fmla="*/ 2147483647 h 652"/>
                <a:gd name="T2" fmla="*/ 2147483647 w 583"/>
                <a:gd name="T3" fmla="*/ 2147483647 h 652"/>
                <a:gd name="T4" fmla="*/ 2147483647 w 583"/>
                <a:gd name="T5" fmla="*/ 2147483647 h 652"/>
                <a:gd name="T6" fmla="*/ 2147483647 w 583"/>
                <a:gd name="T7" fmla="*/ 2147483647 h 652"/>
                <a:gd name="T8" fmla="*/ 2147483647 w 583"/>
                <a:gd name="T9" fmla="*/ 2147483647 h 652"/>
                <a:gd name="T10" fmla="*/ 2147483647 w 583"/>
                <a:gd name="T11" fmla="*/ 2147483647 h 652"/>
                <a:gd name="T12" fmla="*/ 2147483647 w 583"/>
                <a:gd name="T13" fmla="*/ 2147483647 h 652"/>
                <a:gd name="T14" fmla="*/ 2147483647 w 583"/>
                <a:gd name="T15" fmla="*/ 2147483647 h 652"/>
                <a:gd name="T16" fmla="*/ 2147483647 w 583"/>
                <a:gd name="T17" fmla="*/ 2147483647 h 652"/>
                <a:gd name="T18" fmla="*/ 2147483647 w 583"/>
                <a:gd name="T19" fmla="*/ 2147483647 h 652"/>
                <a:gd name="T20" fmla="*/ 2147483647 w 583"/>
                <a:gd name="T21" fmla="*/ 0 h 652"/>
                <a:gd name="T22" fmla="*/ 2147483647 w 583"/>
                <a:gd name="T23" fmla="*/ 2147483647 h 652"/>
                <a:gd name="T24" fmla="*/ 2147483647 w 583"/>
                <a:gd name="T25" fmla="*/ 2147483647 h 652"/>
                <a:gd name="T26" fmla="*/ 2147483647 w 583"/>
                <a:gd name="T27" fmla="*/ 2147483647 h 652"/>
                <a:gd name="T28" fmla="*/ 2147483647 w 583"/>
                <a:gd name="T29" fmla="*/ 2147483647 h 652"/>
                <a:gd name="T30" fmla="*/ 2147483647 w 583"/>
                <a:gd name="T31" fmla="*/ 2147483647 h 652"/>
                <a:gd name="T32" fmla="*/ 0 w 583"/>
                <a:gd name="T33" fmla="*/ 2147483647 h 652"/>
                <a:gd name="T34" fmla="*/ 2147483647 w 583"/>
                <a:gd name="T35" fmla="*/ 2147483647 h 652"/>
                <a:gd name="T36" fmla="*/ 2147483647 w 583"/>
                <a:gd name="T37" fmla="*/ 2147483647 h 652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w 583"/>
                <a:gd name="T58" fmla="*/ 0 h 652"/>
                <a:gd name="T59" fmla="*/ 583 w 583"/>
                <a:gd name="T60" fmla="*/ 652 h 652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T57" t="T58" r="T59" b="T60"/>
              <a:pathLst>
                <a:path w="583" h="652">
                  <a:moveTo>
                    <a:pt x="38" y="415"/>
                  </a:moveTo>
                  <a:lnTo>
                    <a:pt x="23" y="391"/>
                  </a:lnTo>
                  <a:lnTo>
                    <a:pt x="30" y="354"/>
                  </a:lnTo>
                  <a:lnTo>
                    <a:pt x="69" y="294"/>
                  </a:lnTo>
                  <a:lnTo>
                    <a:pt x="97" y="276"/>
                  </a:lnTo>
                  <a:lnTo>
                    <a:pt x="81" y="254"/>
                  </a:lnTo>
                  <a:lnTo>
                    <a:pt x="70" y="195"/>
                  </a:lnTo>
                  <a:lnTo>
                    <a:pt x="82" y="84"/>
                  </a:lnTo>
                  <a:lnTo>
                    <a:pt x="101" y="78"/>
                  </a:lnTo>
                  <a:lnTo>
                    <a:pt x="134" y="98"/>
                  </a:lnTo>
                  <a:lnTo>
                    <a:pt x="162" y="0"/>
                  </a:lnTo>
                  <a:lnTo>
                    <a:pt x="583" y="70"/>
                  </a:lnTo>
                  <a:lnTo>
                    <a:pt x="495" y="652"/>
                  </a:lnTo>
                  <a:lnTo>
                    <a:pt x="366" y="634"/>
                  </a:lnTo>
                  <a:lnTo>
                    <a:pt x="286" y="612"/>
                  </a:lnTo>
                  <a:lnTo>
                    <a:pt x="121" y="547"/>
                  </a:lnTo>
                  <a:lnTo>
                    <a:pt x="0" y="447"/>
                  </a:lnTo>
                  <a:lnTo>
                    <a:pt x="38" y="415"/>
                  </a:lnTo>
                  <a:close/>
                </a:path>
              </a:pathLst>
            </a:custGeom>
            <a:solidFill>
              <a:srgbClr val="99CC00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9202" name="Freeform 51">
              <a:hlinkClick r:id="rId7"/>
            </p:cNvPr>
            <p:cNvSpPr>
              <a:spLocks/>
            </p:cNvSpPr>
            <p:nvPr/>
          </p:nvSpPr>
          <p:spPr bwMode="auto">
            <a:xfrm>
              <a:off x="2816225" y="2298700"/>
              <a:ext cx="993775" cy="809625"/>
            </a:xfrm>
            <a:custGeom>
              <a:avLst/>
              <a:gdLst>
                <a:gd name="T0" fmla="*/ 0 w 602"/>
                <a:gd name="T1" fmla="*/ 2147483647 h 480"/>
                <a:gd name="T2" fmla="*/ 2147483647 w 602"/>
                <a:gd name="T3" fmla="*/ 0 h 480"/>
                <a:gd name="T4" fmla="*/ 2147483647 w 602"/>
                <a:gd name="T5" fmla="*/ 2147483647 h 480"/>
                <a:gd name="T6" fmla="*/ 2147483647 w 602"/>
                <a:gd name="T7" fmla="*/ 2147483647 h 480"/>
                <a:gd name="T8" fmla="*/ 2147483647 w 602"/>
                <a:gd name="T9" fmla="*/ 2147483647 h 480"/>
                <a:gd name="T10" fmla="*/ 2147483647 w 602"/>
                <a:gd name="T11" fmla="*/ 2147483647 h 480"/>
                <a:gd name="T12" fmla="*/ 2147483647 w 602"/>
                <a:gd name="T13" fmla="*/ 2147483647 h 480"/>
                <a:gd name="T14" fmla="*/ 0 w 602"/>
                <a:gd name="T15" fmla="*/ 2147483647 h 480"/>
                <a:gd name="T16" fmla="*/ 0 w 602"/>
                <a:gd name="T17" fmla="*/ 2147483647 h 480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602"/>
                <a:gd name="T28" fmla="*/ 0 h 480"/>
                <a:gd name="T29" fmla="*/ 602 w 602"/>
                <a:gd name="T30" fmla="*/ 480 h 480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602" h="480">
                  <a:moveTo>
                    <a:pt x="0" y="411"/>
                  </a:moveTo>
                  <a:lnTo>
                    <a:pt x="72" y="0"/>
                  </a:lnTo>
                  <a:lnTo>
                    <a:pt x="309" y="35"/>
                  </a:lnTo>
                  <a:lnTo>
                    <a:pt x="602" y="65"/>
                  </a:lnTo>
                  <a:lnTo>
                    <a:pt x="581" y="273"/>
                  </a:lnTo>
                  <a:lnTo>
                    <a:pt x="562" y="480"/>
                  </a:lnTo>
                  <a:lnTo>
                    <a:pt x="162" y="436"/>
                  </a:lnTo>
                  <a:lnTo>
                    <a:pt x="0" y="411"/>
                  </a:lnTo>
                  <a:close/>
                </a:path>
              </a:pathLst>
            </a:custGeom>
            <a:solidFill>
              <a:srgbClr val="006600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9203" name="Freeform 52">
              <a:hlinkClick r:id="rId7"/>
            </p:cNvPr>
            <p:cNvSpPr>
              <a:spLocks/>
            </p:cNvSpPr>
            <p:nvPr/>
          </p:nvSpPr>
          <p:spPr bwMode="auto">
            <a:xfrm>
              <a:off x="2976563" y="3033713"/>
              <a:ext cx="949325" cy="774700"/>
            </a:xfrm>
            <a:custGeom>
              <a:avLst/>
              <a:gdLst>
                <a:gd name="T0" fmla="*/ 2147483647 w 622"/>
                <a:gd name="T1" fmla="*/ 0 h 475"/>
                <a:gd name="T2" fmla="*/ 2147483647 w 622"/>
                <a:gd name="T3" fmla="*/ 2147483647 h 475"/>
                <a:gd name="T4" fmla="*/ 2147483647 w 622"/>
                <a:gd name="T5" fmla="*/ 2147483647 h 475"/>
                <a:gd name="T6" fmla="*/ 2147483647 w 622"/>
                <a:gd name="T7" fmla="*/ 2147483647 h 475"/>
                <a:gd name="T8" fmla="*/ 2147483647 w 622"/>
                <a:gd name="T9" fmla="*/ 2147483647 h 475"/>
                <a:gd name="T10" fmla="*/ 2147483647 w 622"/>
                <a:gd name="T11" fmla="*/ 2147483647 h 475"/>
                <a:gd name="T12" fmla="*/ 2147483647 w 622"/>
                <a:gd name="T13" fmla="*/ 2147483647 h 475"/>
                <a:gd name="T14" fmla="*/ 0 w 622"/>
                <a:gd name="T15" fmla="*/ 2147483647 h 475"/>
                <a:gd name="T16" fmla="*/ 2147483647 w 622"/>
                <a:gd name="T17" fmla="*/ 0 h 475"/>
                <a:gd name="T18" fmla="*/ 2147483647 w 622"/>
                <a:gd name="T19" fmla="*/ 0 h 475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622"/>
                <a:gd name="T31" fmla="*/ 0 h 475"/>
                <a:gd name="T32" fmla="*/ 622 w 622"/>
                <a:gd name="T33" fmla="*/ 475 h 475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622" h="475">
                  <a:moveTo>
                    <a:pt x="62" y="0"/>
                  </a:moveTo>
                  <a:lnTo>
                    <a:pt x="462" y="44"/>
                  </a:lnTo>
                  <a:lnTo>
                    <a:pt x="622" y="58"/>
                  </a:lnTo>
                  <a:lnTo>
                    <a:pt x="616" y="161"/>
                  </a:lnTo>
                  <a:lnTo>
                    <a:pt x="594" y="475"/>
                  </a:lnTo>
                  <a:lnTo>
                    <a:pt x="512" y="469"/>
                  </a:lnTo>
                  <a:lnTo>
                    <a:pt x="258" y="447"/>
                  </a:lnTo>
                  <a:lnTo>
                    <a:pt x="0" y="415"/>
                  </a:lnTo>
                  <a:lnTo>
                    <a:pt x="62" y="0"/>
                  </a:lnTo>
                  <a:close/>
                </a:path>
              </a:pathLst>
            </a:custGeom>
            <a:solidFill>
              <a:srgbClr val="99CC00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9204" name="Freeform 53">
              <a:hlinkClick r:id="rId8"/>
            </p:cNvPr>
            <p:cNvSpPr>
              <a:spLocks/>
            </p:cNvSpPr>
            <p:nvPr/>
          </p:nvSpPr>
          <p:spPr bwMode="auto">
            <a:xfrm>
              <a:off x="2843213" y="3713163"/>
              <a:ext cx="917575" cy="995362"/>
            </a:xfrm>
            <a:custGeom>
              <a:avLst/>
              <a:gdLst>
                <a:gd name="T0" fmla="*/ 2147483647 w 600"/>
                <a:gd name="T1" fmla="*/ 2147483647 h 592"/>
                <a:gd name="T2" fmla="*/ 2147483647 w 600"/>
                <a:gd name="T3" fmla="*/ 2147483647 h 592"/>
                <a:gd name="T4" fmla="*/ 2147483647 w 600"/>
                <a:gd name="T5" fmla="*/ 2147483647 h 592"/>
                <a:gd name="T6" fmla="*/ 2147483647 w 600"/>
                <a:gd name="T7" fmla="*/ 2147483647 h 592"/>
                <a:gd name="T8" fmla="*/ 2147483647 w 600"/>
                <a:gd name="T9" fmla="*/ 2147483647 h 592"/>
                <a:gd name="T10" fmla="*/ 2147483647 w 600"/>
                <a:gd name="T11" fmla="*/ 2147483647 h 592"/>
                <a:gd name="T12" fmla="*/ 2147483647 w 600"/>
                <a:gd name="T13" fmla="*/ 2147483647 h 592"/>
                <a:gd name="T14" fmla="*/ 2147483647 w 600"/>
                <a:gd name="T15" fmla="*/ 0 h 592"/>
                <a:gd name="T16" fmla="*/ 0 w 600"/>
                <a:gd name="T17" fmla="*/ 2147483647 h 592"/>
                <a:gd name="T18" fmla="*/ 2147483647 w 600"/>
                <a:gd name="T19" fmla="*/ 2147483647 h 592"/>
                <a:gd name="T20" fmla="*/ 2147483647 w 600"/>
                <a:gd name="T21" fmla="*/ 2147483647 h 592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600"/>
                <a:gd name="T34" fmla="*/ 0 h 592"/>
                <a:gd name="T35" fmla="*/ 600 w 600"/>
                <a:gd name="T36" fmla="*/ 592 h 592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600" h="592">
                  <a:moveTo>
                    <a:pt x="76" y="592"/>
                  </a:moveTo>
                  <a:lnTo>
                    <a:pt x="83" y="548"/>
                  </a:lnTo>
                  <a:lnTo>
                    <a:pt x="233" y="567"/>
                  </a:lnTo>
                  <a:lnTo>
                    <a:pt x="227" y="545"/>
                  </a:lnTo>
                  <a:lnTo>
                    <a:pt x="551" y="575"/>
                  </a:lnTo>
                  <a:lnTo>
                    <a:pt x="600" y="54"/>
                  </a:lnTo>
                  <a:lnTo>
                    <a:pt x="346" y="32"/>
                  </a:lnTo>
                  <a:lnTo>
                    <a:pt x="88" y="0"/>
                  </a:lnTo>
                  <a:lnTo>
                    <a:pt x="0" y="582"/>
                  </a:lnTo>
                  <a:lnTo>
                    <a:pt x="76" y="592"/>
                  </a:lnTo>
                  <a:close/>
                </a:path>
              </a:pathLst>
            </a:custGeom>
            <a:solidFill>
              <a:srgbClr val="99CC00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9205" name="Freeform 54">
              <a:hlinkClick r:id="rId8"/>
            </p:cNvPr>
            <p:cNvSpPr>
              <a:spLocks/>
            </p:cNvSpPr>
            <p:nvPr/>
          </p:nvSpPr>
          <p:spPr bwMode="auto">
            <a:xfrm>
              <a:off x="3186113" y="3890963"/>
              <a:ext cx="1843087" cy="1884362"/>
            </a:xfrm>
            <a:custGeom>
              <a:avLst/>
              <a:gdLst>
                <a:gd name="T0" fmla="*/ 0 w 1193"/>
                <a:gd name="T1" fmla="*/ 2147483647 h 1116"/>
                <a:gd name="T2" fmla="*/ 2147483647 w 1193"/>
                <a:gd name="T3" fmla="*/ 2147483647 h 1116"/>
                <a:gd name="T4" fmla="*/ 2147483647 w 1193"/>
                <a:gd name="T5" fmla="*/ 0 h 1116"/>
                <a:gd name="T6" fmla="*/ 2147483647 w 1193"/>
                <a:gd name="T7" fmla="*/ 2147483647 h 1116"/>
                <a:gd name="T8" fmla="*/ 2147483647 w 1193"/>
                <a:gd name="T9" fmla="*/ 2147483647 h 1116"/>
                <a:gd name="T10" fmla="*/ 2147483647 w 1193"/>
                <a:gd name="T11" fmla="*/ 2147483647 h 1116"/>
                <a:gd name="T12" fmla="*/ 2147483647 w 1193"/>
                <a:gd name="T13" fmla="*/ 2147483647 h 1116"/>
                <a:gd name="T14" fmla="*/ 2147483647 w 1193"/>
                <a:gd name="T15" fmla="*/ 2147483647 h 1116"/>
                <a:gd name="T16" fmla="*/ 2147483647 w 1193"/>
                <a:gd name="T17" fmla="*/ 2147483647 h 1116"/>
                <a:gd name="T18" fmla="*/ 2147483647 w 1193"/>
                <a:gd name="T19" fmla="*/ 2147483647 h 1116"/>
                <a:gd name="T20" fmla="*/ 2147483647 w 1193"/>
                <a:gd name="T21" fmla="*/ 2147483647 h 1116"/>
                <a:gd name="T22" fmla="*/ 2147483647 w 1193"/>
                <a:gd name="T23" fmla="*/ 2147483647 h 1116"/>
                <a:gd name="T24" fmla="*/ 2147483647 w 1193"/>
                <a:gd name="T25" fmla="*/ 2147483647 h 1116"/>
                <a:gd name="T26" fmla="*/ 2147483647 w 1193"/>
                <a:gd name="T27" fmla="*/ 2147483647 h 1116"/>
                <a:gd name="T28" fmla="*/ 2147483647 w 1193"/>
                <a:gd name="T29" fmla="*/ 2147483647 h 1116"/>
                <a:gd name="T30" fmla="*/ 2147483647 w 1193"/>
                <a:gd name="T31" fmla="*/ 2147483647 h 1116"/>
                <a:gd name="T32" fmla="*/ 2147483647 w 1193"/>
                <a:gd name="T33" fmla="*/ 2147483647 h 1116"/>
                <a:gd name="T34" fmla="*/ 2147483647 w 1193"/>
                <a:gd name="T35" fmla="*/ 2147483647 h 1116"/>
                <a:gd name="T36" fmla="*/ 2147483647 w 1193"/>
                <a:gd name="T37" fmla="*/ 2147483647 h 1116"/>
                <a:gd name="T38" fmla="*/ 2147483647 w 1193"/>
                <a:gd name="T39" fmla="*/ 2147483647 h 1116"/>
                <a:gd name="T40" fmla="*/ 2147483647 w 1193"/>
                <a:gd name="T41" fmla="*/ 2147483647 h 1116"/>
                <a:gd name="T42" fmla="*/ 2147483647 w 1193"/>
                <a:gd name="T43" fmla="*/ 2147483647 h 1116"/>
                <a:gd name="T44" fmla="*/ 2147483647 w 1193"/>
                <a:gd name="T45" fmla="*/ 2147483647 h 1116"/>
                <a:gd name="T46" fmla="*/ 2147483647 w 1193"/>
                <a:gd name="T47" fmla="*/ 2147483647 h 1116"/>
                <a:gd name="T48" fmla="*/ 2147483647 w 1193"/>
                <a:gd name="T49" fmla="*/ 2147483647 h 1116"/>
                <a:gd name="T50" fmla="*/ 2147483647 w 1193"/>
                <a:gd name="T51" fmla="*/ 2147483647 h 1116"/>
                <a:gd name="T52" fmla="*/ 2147483647 w 1193"/>
                <a:gd name="T53" fmla="*/ 2147483647 h 1116"/>
                <a:gd name="T54" fmla="*/ 2147483647 w 1193"/>
                <a:gd name="T55" fmla="*/ 2147483647 h 1116"/>
                <a:gd name="T56" fmla="*/ 2147483647 w 1193"/>
                <a:gd name="T57" fmla="*/ 2147483647 h 1116"/>
                <a:gd name="T58" fmla="*/ 2147483647 w 1193"/>
                <a:gd name="T59" fmla="*/ 2147483647 h 1116"/>
                <a:gd name="T60" fmla="*/ 2147483647 w 1193"/>
                <a:gd name="T61" fmla="*/ 2147483647 h 1116"/>
                <a:gd name="T62" fmla="*/ 2147483647 w 1193"/>
                <a:gd name="T63" fmla="*/ 2147483647 h 1116"/>
                <a:gd name="T64" fmla="*/ 2147483647 w 1193"/>
                <a:gd name="T65" fmla="*/ 2147483647 h 1116"/>
                <a:gd name="T66" fmla="*/ 2147483647 w 1193"/>
                <a:gd name="T67" fmla="*/ 2147483647 h 1116"/>
                <a:gd name="T68" fmla="*/ 2147483647 w 1193"/>
                <a:gd name="T69" fmla="*/ 2147483647 h 1116"/>
                <a:gd name="T70" fmla="*/ 2147483647 w 1193"/>
                <a:gd name="T71" fmla="*/ 2147483647 h 1116"/>
                <a:gd name="T72" fmla="*/ 2147483647 w 1193"/>
                <a:gd name="T73" fmla="*/ 2147483647 h 1116"/>
                <a:gd name="T74" fmla="*/ 2147483647 w 1193"/>
                <a:gd name="T75" fmla="*/ 2147483647 h 1116"/>
                <a:gd name="T76" fmla="*/ 2147483647 w 1193"/>
                <a:gd name="T77" fmla="*/ 2147483647 h 1116"/>
                <a:gd name="T78" fmla="*/ 2147483647 w 1193"/>
                <a:gd name="T79" fmla="*/ 2147483647 h 1116"/>
                <a:gd name="T80" fmla="*/ 2147483647 w 1193"/>
                <a:gd name="T81" fmla="*/ 2147483647 h 1116"/>
                <a:gd name="T82" fmla="*/ 2147483647 w 1193"/>
                <a:gd name="T83" fmla="*/ 2147483647 h 1116"/>
                <a:gd name="T84" fmla="*/ 2147483647 w 1193"/>
                <a:gd name="T85" fmla="*/ 2147483647 h 1116"/>
                <a:gd name="T86" fmla="*/ 2147483647 w 1193"/>
                <a:gd name="T87" fmla="*/ 2147483647 h 1116"/>
                <a:gd name="T88" fmla="*/ 2147483647 w 1193"/>
                <a:gd name="T89" fmla="*/ 2147483647 h 1116"/>
                <a:gd name="T90" fmla="*/ 2147483647 w 1193"/>
                <a:gd name="T91" fmla="*/ 2147483647 h 1116"/>
                <a:gd name="T92" fmla="*/ 2147483647 w 1193"/>
                <a:gd name="T93" fmla="*/ 2147483647 h 1116"/>
                <a:gd name="T94" fmla="*/ 2147483647 w 1193"/>
                <a:gd name="T95" fmla="*/ 2147483647 h 1116"/>
                <a:gd name="T96" fmla="*/ 2147483647 w 1193"/>
                <a:gd name="T97" fmla="*/ 2147483647 h 1116"/>
                <a:gd name="T98" fmla="*/ 2147483647 w 1193"/>
                <a:gd name="T99" fmla="*/ 2147483647 h 1116"/>
                <a:gd name="T100" fmla="*/ 0 w 1193"/>
                <a:gd name="T101" fmla="*/ 2147483647 h 1116"/>
                <a:gd name="T102" fmla="*/ 0 w 1193"/>
                <a:gd name="T103" fmla="*/ 2147483647 h 111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1193"/>
                <a:gd name="T157" fmla="*/ 0 h 1116"/>
                <a:gd name="T158" fmla="*/ 1193 w 1193"/>
                <a:gd name="T159" fmla="*/ 1116 h 1116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1193" h="1116">
                  <a:moveTo>
                    <a:pt x="0" y="436"/>
                  </a:moveTo>
                  <a:lnTo>
                    <a:pt x="324" y="466"/>
                  </a:lnTo>
                  <a:lnTo>
                    <a:pt x="369" y="0"/>
                  </a:lnTo>
                  <a:lnTo>
                    <a:pt x="627" y="14"/>
                  </a:lnTo>
                  <a:lnTo>
                    <a:pt x="618" y="215"/>
                  </a:lnTo>
                  <a:lnTo>
                    <a:pt x="644" y="236"/>
                  </a:lnTo>
                  <a:lnTo>
                    <a:pt x="668" y="236"/>
                  </a:lnTo>
                  <a:lnTo>
                    <a:pt x="687" y="255"/>
                  </a:lnTo>
                  <a:lnTo>
                    <a:pt x="725" y="264"/>
                  </a:lnTo>
                  <a:lnTo>
                    <a:pt x="804" y="297"/>
                  </a:lnTo>
                  <a:lnTo>
                    <a:pt x="818" y="283"/>
                  </a:lnTo>
                  <a:lnTo>
                    <a:pt x="868" y="312"/>
                  </a:lnTo>
                  <a:lnTo>
                    <a:pt x="935" y="311"/>
                  </a:lnTo>
                  <a:lnTo>
                    <a:pt x="981" y="297"/>
                  </a:lnTo>
                  <a:lnTo>
                    <a:pt x="1045" y="286"/>
                  </a:lnTo>
                  <a:lnTo>
                    <a:pt x="1103" y="317"/>
                  </a:lnTo>
                  <a:lnTo>
                    <a:pt x="1112" y="327"/>
                  </a:lnTo>
                  <a:lnTo>
                    <a:pt x="1143" y="327"/>
                  </a:lnTo>
                  <a:lnTo>
                    <a:pt x="1149" y="492"/>
                  </a:lnTo>
                  <a:lnTo>
                    <a:pt x="1193" y="573"/>
                  </a:lnTo>
                  <a:lnTo>
                    <a:pt x="1177" y="637"/>
                  </a:lnTo>
                  <a:lnTo>
                    <a:pt x="1180" y="690"/>
                  </a:lnTo>
                  <a:lnTo>
                    <a:pt x="1161" y="716"/>
                  </a:lnTo>
                  <a:lnTo>
                    <a:pt x="1168" y="725"/>
                  </a:lnTo>
                  <a:lnTo>
                    <a:pt x="1119" y="740"/>
                  </a:lnTo>
                  <a:lnTo>
                    <a:pt x="1081" y="744"/>
                  </a:lnTo>
                  <a:lnTo>
                    <a:pt x="1088" y="716"/>
                  </a:lnTo>
                  <a:lnTo>
                    <a:pt x="1067" y="732"/>
                  </a:lnTo>
                  <a:lnTo>
                    <a:pt x="1069" y="765"/>
                  </a:lnTo>
                  <a:lnTo>
                    <a:pt x="1042" y="799"/>
                  </a:lnTo>
                  <a:lnTo>
                    <a:pt x="901" y="870"/>
                  </a:lnTo>
                  <a:lnTo>
                    <a:pt x="856" y="915"/>
                  </a:lnTo>
                  <a:lnTo>
                    <a:pt x="815" y="1014"/>
                  </a:lnTo>
                  <a:lnTo>
                    <a:pt x="849" y="1116"/>
                  </a:lnTo>
                  <a:lnTo>
                    <a:pt x="816" y="1116"/>
                  </a:lnTo>
                  <a:lnTo>
                    <a:pt x="663" y="1063"/>
                  </a:lnTo>
                  <a:lnTo>
                    <a:pt x="647" y="1018"/>
                  </a:lnTo>
                  <a:lnTo>
                    <a:pt x="630" y="999"/>
                  </a:lnTo>
                  <a:lnTo>
                    <a:pt x="626" y="940"/>
                  </a:lnTo>
                  <a:lnTo>
                    <a:pt x="596" y="920"/>
                  </a:lnTo>
                  <a:lnTo>
                    <a:pt x="514" y="763"/>
                  </a:lnTo>
                  <a:lnTo>
                    <a:pt x="474" y="734"/>
                  </a:lnTo>
                  <a:lnTo>
                    <a:pt x="462" y="709"/>
                  </a:lnTo>
                  <a:lnTo>
                    <a:pt x="342" y="703"/>
                  </a:lnTo>
                  <a:lnTo>
                    <a:pt x="278" y="777"/>
                  </a:lnTo>
                  <a:lnTo>
                    <a:pt x="170" y="700"/>
                  </a:lnTo>
                  <a:lnTo>
                    <a:pt x="137" y="594"/>
                  </a:lnTo>
                  <a:lnTo>
                    <a:pt x="33" y="495"/>
                  </a:lnTo>
                  <a:lnTo>
                    <a:pt x="21" y="463"/>
                  </a:lnTo>
                  <a:lnTo>
                    <a:pt x="6" y="458"/>
                  </a:lnTo>
                  <a:lnTo>
                    <a:pt x="0" y="436"/>
                  </a:lnTo>
                  <a:close/>
                </a:path>
              </a:pathLst>
            </a:custGeom>
            <a:solidFill>
              <a:srgbClr val="66CCFF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9206" name="Freeform 55">
              <a:hlinkClick r:id="rId9"/>
            </p:cNvPr>
            <p:cNvSpPr>
              <a:spLocks/>
            </p:cNvSpPr>
            <p:nvPr/>
          </p:nvSpPr>
          <p:spPr bwMode="auto">
            <a:xfrm>
              <a:off x="3749675" y="1752600"/>
              <a:ext cx="855663" cy="558800"/>
            </a:xfrm>
            <a:custGeom>
              <a:avLst/>
              <a:gdLst>
                <a:gd name="T0" fmla="*/ 2147483647 w 561"/>
                <a:gd name="T1" fmla="*/ 0 h 342"/>
                <a:gd name="T2" fmla="*/ 2147483647 w 561"/>
                <a:gd name="T3" fmla="*/ 2147483647 h 342"/>
                <a:gd name="T4" fmla="*/ 2147483647 w 561"/>
                <a:gd name="T5" fmla="*/ 2147483647 h 342"/>
                <a:gd name="T6" fmla="*/ 2147483647 w 561"/>
                <a:gd name="T7" fmla="*/ 2147483647 h 342"/>
                <a:gd name="T8" fmla="*/ 2147483647 w 561"/>
                <a:gd name="T9" fmla="*/ 2147483647 h 342"/>
                <a:gd name="T10" fmla="*/ 2147483647 w 561"/>
                <a:gd name="T11" fmla="*/ 2147483647 h 342"/>
                <a:gd name="T12" fmla="*/ 2147483647 w 561"/>
                <a:gd name="T13" fmla="*/ 2147483647 h 342"/>
                <a:gd name="T14" fmla="*/ 0 w 561"/>
                <a:gd name="T15" fmla="*/ 2147483647 h 342"/>
                <a:gd name="T16" fmla="*/ 2147483647 w 561"/>
                <a:gd name="T17" fmla="*/ 0 h 342"/>
                <a:gd name="T18" fmla="*/ 2147483647 w 561"/>
                <a:gd name="T19" fmla="*/ 0 h 342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561"/>
                <a:gd name="T31" fmla="*/ 0 h 342"/>
                <a:gd name="T32" fmla="*/ 561 w 561"/>
                <a:gd name="T33" fmla="*/ 342 h 342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561" h="342">
                  <a:moveTo>
                    <a:pt x="30" y="0"/>
                  </a:moveTo>
                  <a:lnTo>
                    <a:pt x="518" y="25"/>
                  </a:lnTo>
                  <a:lnTo>
                    <a:pt x="521" y="111"/>
                  </a:lnTo>
                  <a:lnTo>
                    <a:pt x="544" y="182"/>
                  </a:lnTo>
                  <a:lnTo>
                    <a:pt x="547" y="270"/>
                  </a:lnTo>
                  <a:lnTo>
                    <a:pt x="561" y="342"/>
                  </a:lnTo>
                  <a:lnTo>
                    <a:pt x="266" y="334"/>
                  </a:lnTo>
                  <a:lnTo>
                    <a:pt x="0" y="314"/>
                  </a:lnTo>
                  <a:lnTo>
                    <a:pt x="30" y="0"/>
                  </a:lnTo>
                  <a:close/>
                </a:path>
              </a:pathLst>
            </a:custGeom>
            <a:solidFill>
              <a:srgbClr val="0070C0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9207" name="Freeform 56">
              <a:hlinkClick r:id="rId9"/>
            </p:cNvPr>
            <p:cNvSpPr>
              <a:spLocks/>
            </p:cNvSpPr>
            <p:nvPr/>
          </p:nvSpPr>
          <p:spPr bwMode="auto">
            <a:xfrm>
              <a:off x="3732213" y="2270125"/>
              <a:ext cx="915987" cy="636588"/>
            </a:xfrm>
            <a:custGeom>
              <a:avLst/>
              <a:gdLst>
                <a:gd name="T0" fmla="*/ 2147483647 w 600"/>
                <a:gd name="T1" fmla="*/ 0 h 390"/>
                <a:gd name="T2" fmla="*/ 2147483647 w 600"/>
                <a:gd name="T3" fmla="*/ 2147483647 h 390"/>
                <a:gd name="T4" fmla="*/ 2147483647 w 600"/>
                <a:gd name="T5" fmla="*/ 2147483647 h 390"/>
                <a:gd name="T6" fmla="*/ 2147483647 w 600"/>
                <a:gd name="T7" fmla="*/ 2147483647 h 390"/>
                <a:gd name="T8" fmla="*/ 2147483647 w 600"/>
                <a:gd name="T9" fmla="*/ 2147483647 h 390"/>
                <a:gd name="T10" fmla="*/ 2147483647 w 600"/>
                <a:gd name="T11" fmla="*/ 2147483647 h 390"/>
                <a:gd name="T12" fmla="*/ 2147483647 w 600"/>
                <a:gd name="T13" fmla="*/ 2147483647 h 390"/>
                <a:gd name="T14" fmla="*/ 2147483647 w 600"/>
                <a:gd name="T15" fmla="*/ 2147483647 h 390"/>
                <a:gd name="T16" fmla="*/ 2147483647 w 600"/>
                <a:gd name="T17" fmla="*/ 2147483647 h 390"/>
                <a:gd name="T18" fmla="*/ 2147483647 w 600"/>
                <a:gd name="T19" fmla="*/ 2147483647 h 390"/>
                <a:gd name="T20" fmla="*/ 2147483647 w 600"/>
                <a:gd name="T21" fmla="*/ 2147483647 h 390"/>
                <a:gd name="T22" fmla="*/ 2147483647 w 600"/>
                <a:gd name="T23" fmla="*/ 2147483647 h 390"/>
                <a:gd name="T24" fmla="*/ 2147483647 w 600"/>
                <a:gd name="T25" fmla="*/ 2147483647 h 390"/>
                <a:gd name="T26" fmla="*/ 2147483647 w 600"/>
                <a:gd name="T27" fmla="*/ 2147483647 h 390"/>
                <a:gd name="T28" fmla="*/ 2147483647 w 600"/>
                <a:gd name="T29" fmla="*/ 2147483647 h 390"/>
                <a:gd name="T30" fmla="*/ 2147483647 w 600"/>
                <a:gd name="T31" fmla="*/ 2147483647 h 390"/>
                <a:gd name="T32" fmla="*/ 0 w 600"/>
                <a:gd name="T33" fmla="*/ 2147483647 h 390"/>
                <a:gd name="T34" fmla="*/ 2147483647 w 600"/>
                <a:gd name="T35" fmla="*/ 0 h 390"/>
                <a:gd name="T36" fmla="*/ 2147483647 w 600"/>
                <a:gd name="T37" fmla="*/ 0 h 390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w 600"/>
                <a:gd name="T58" fmla="*/ 0 h 390"/>
                <a:gd name="T59" fmla="*/ 600 w 600"/>
                <a:gd name="T60" fmla="*/ 390 h 390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T57" t="T58" r="T59" b="T60"/>
              <a:pathLst>
                <a:path w="600" h="390">
                  <a:moveTo>
                    <a:pt x="30" y="0"/>
                  </a:moveTo>
                  <a:lnTo>
                    <a:pt x="296" y="20"/>
                  </a:lnTo>
                  <a:lnTo>
                    <a:pt x="591" y="28"/>
                  </a:lnTo>
                  <a:lnTo>
                    <a:pt x="572" y="65"/>
                  </a:lnTo>
                  <a:lnTo>
                    <a:pt x="600" y="92"/>
                  </a:lnTo>
                  <a:lnTo>
                    <a:pt x="599" y="283"/>
                  </a:lnTo>
                  <a:lnTo>
                    <a:pt x="587" y="282"/>
                  </a:lnTo>
                  <a:lnTo>
                    <a:pt x="588" y="307"/>
                  </a:lnTo>
                  <a:lnTo>
                    <a:pt x="597" y="326"/>
                  </a:lnTo>
                  <a:lnTo>
                    <a:pt x="591" y="344"/>
                  </a:lnTo>
                  <a:lnTo>
                    <a:pt x="597" y="390"/>
                  </a:lnTo>
                  <a:lnTo>
                    <a:pt x="584" y="385"/>
                  </a:lnTo>
                  <a:lnTo>
                    <a:pt x="569" y="368"/>
                  </a:lnTo>
                  <a:lnTo>
                    <a:pt x="516" y="350"/>
                  </a:lnTo>
                  <a:lnTo>
                    <a:pt x="464" y="353"/>
                  </a:lnTo>
                  <a:lnTo>
                    <a:pt x="434" y="331"/>
                  </a:lnTo>
                  <a:lnTo>
                    <a:pt x="0" y="306"/>
                  </a:lnTo>
                  <a:lnTo>
                    <a:pt x="30" y="0"/>
                  </a:lnTo>
                  <a:close/>
                </a:path>
              </a:pathLst>
            </a:custGeom>
            <a:solidFill>
              <a:srgbClr val="0070C0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9208" name="Freeform 57">
              <a:hlinkClick r:id="rId10"/>
            </p:cNvPr>
            <p:cNvSpPr>
              <a:spLocks/>
            </p:cNvSpPr>
            <p:nvPr/>
          </p:nvSpPr>
          <p:spPr bwMode="auto">
            <a:xfrm>
              <a:off x="3675063" y="2767013"/>
              <a:ext cx="1074737" cy="554037"/>
            </a:xfrm>
            <a:custGeom>
              <a:avLst/>
              <a:gdLst>
                <a:gd name="T0" fmla="*/ 2147483647 w 704"/>
                <a:gd name="T1" fmla="*/ 0 h 340"/>
                <a:gd name="T2" fmla="*/ 2147483647 w 704"/>
                <a:gd name="T3" fmla="*/ 2147483647 h 340"/>
                <a:gd name="T4" fmla="*/ 2147483647 w 704"/>
                <a:gd name="T5" fmla="*/ 2147483647 h 340"/>
                <a:gd name="T6" fmla="*/ 2147483647 w 704"/>
                <a:gd name="T7" fmla="*/ 2147483647 h 340"/>
                <a:gd name="T8" fmla="*/ 2147483647 w 704"/>
                <a:gd name="T9" fmla="*/ 2147483647 h 340"/>
                <a:gd name="T10" fmla="*/ 2147483647 w 704"/>
                <a:gd name="T11" fmla="*/ 2147483647 h 340"/>
                <a:gd name="T12" fmla="*/ 2147483647 w 704"/>
                <a:gd name="T13" fmla="*/ 2147483647 h 340"/>
                <a:gd name="T14" fmla="*/ 2147483647 w 704"/>
                <a:gd name="T15" fmla="*/ 2147483647 h 340"/>
                <a:gd name="T16" fmla="*/ 2147483647 w 704"/>
                <a:gd name="T17" fmla="*/ 2147483647 h 340"/>
                <a:gd name="T18" fmla="*/ 2147483647 w 704"/>
                <a:gd name="T19" fmla="*/ 2147483647 h 340"/>
                <a:gd name="T20" fmla="*/ 2147483647 w 704"/>
                <a:gd name="T21" fmla="*/ 2147483647 h 340"/>
                <a:gd name="T22" fmla="*/ 2147483647 w 704"/>
                <a:gd name="T23" fmla="*/ 2147483647 h 340"/>
                <a:gd name="T24" fmla="*/ 2147483647 w 704"/>
                <a:gd name="T25" fmla="*/ 2147483647 h 340"/>
                <a:gd name="T26" fmla="*/ 2147483647 w 704"/>
                <a:gd name="T27" fmla="*/ 2147483647 h 340"/>
                <a:gd name="T28" fmla="*/ 2147483647 w 704"/>
                <a:gd name="T29" fmla="*/ 2147483647 h 340"/>
                <a:gd name="T30" fmla="*/ 2147483647 w 704"/>
                <a:gd name="T31" fmla="*/ 2147483647 h 340"/>
                <a:gd name="T32" fmla="*/ 2147483647 w 704"/>
                <a:gd name="T33" fmla="*/ 2147483647 h 340"/>
                <a:gd name="T34" fmla="*/ 0 w 704"/>
                <a:gd name="T35" fmla="*/ 2147483647 h 340"/>
                <a:gd name="T36" fmla="*/ 2147483647 w 704"/>
                <a:gd name="T37" fmla="*/ 0 h 340"/>
                <a:gd name="T38" fmla="*/ 2147483647 w 704"/>
                <a:gd name="T39" fmla="*/ 0 h 340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w 704"/>
                <a:gd name="T61" fmla="*/ 0 h 340"/>
                <a:gd name="T62" fmla="*/ 704 w 704"/>
                <a:gd name="T63" fmla="*/ 340 h 340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T60" t="T61" r="T62" b="T63"/>
              <a:pathLst>
                <a:path w="704" h="340">
                  <a:moveTo>
                    <a:pt x="19" y="0"/>
                  </a:moveTo>
                  <a:lnTo>
                    <a:pt x="453" y="25"/>
                  </a:lnTo>
                  <a:lnTo>
                    <a:pt x="483" y="47"/>
                  </a:lnTo>
                  <a:lnTo>
                    <a:pt x="535" y="44"/>
                  </a:lnTo>
                  <a:lnTo>
                    <a:pt x="588" y="62"/>
                  </a:lnTo>
                  <a:lnTo>
                    <a:pt x="603" y="79"/>
                  </a:lnTo>
                  <a:lnTo>
                    <a:pt x="616" y="84"/>
                  </a:lnTo>
                  <a:lnTo>
                    <a:pt x="640" y="148"/>
                  </a:lnTo>
                  <a:lnTo>
                    <a:pt x="640" y="168"/>
                  </a:lnTo>
                  <a:lnTo>
                    <a:pt x="657" y="199"/>
                  </a:lnTo>
                  <a:lnTo>
                    <a:pt x="664" y="247"/>
                  </a:lnTo>
                  <a:lnTo>
                    <a:pt x="659" y="262"/>
                  </a:lnTo>
                  <a:lnTo>
                    <a:pt x="670" y="278"/>
                  </a:lnTo>
                  <a:lnTo>
                    <a:pt x="704" y="340"/>
                  </a:lnTo>
                  <a:lnTo>
                    <a:pt x="391" y="337"/>
                  </a:lnTo>
                  <a:lnTo>
                    <a:pt x="154" y="324"/>
                  </a:lnTo>
                  <a:lnTo>
                    <a:pt x="160" y="221"/>
                  </a:lnTo>
                  <a:lnTo>
                    <a:pt x="0" y="207"/>
                  </a:lnTo>
                  <a:lnTo>
                    <a:pt x="19" y="0"/>
                  </a:lnTo>
                  <a:close/>
                </a:path>
              </a:pathLst>
            </a:custGeom>
            <a:solidFill>
              <a:srgbClr val="66CCFF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9209" name="Freeform 58">
              <a:hlinkClick r:id="rId8"/>
            </p:cNvPr>
            <p:cNvSpPr>
              <a:spLocks/>
            </p:cNvSpPr>
            <p:nvPr/>
          </p:nvSpPr>
          <p:spPr bwMode="auto">
            <a:xfrm>
              <a:off x="3873500" y="3295650"/>
              <a:ext cx="968375" cy="539750"/>
            </a:xfrm>
            <a:custGeom>
              <a:avLst/>
              <a:gdLst>
                <a:gd name="T0" fmla="*/ 2147483647 w 634"/>
                <a:gd name="T1" fmla="*/ 0 h 330"/>
                <a:gd name="T2" fmla="*/ 2147483647 w 634"/>
                <a:gd name="T3" fmla="*/ 2147483647 h 330"/>
                <a:gd name="T4" fmla="*/ 2147483647 w 634"/>
                <a:gd name="T5" fmla="*/ 2147483647 h 330"/>
                <a:gd name="T6" fmla="*/ 2147483647 w 634"/>
                <a:gd name="T7" fmla="*/ 2147483647 h 330"/>
                <a:gd name="T8" fmla="*/ 2147483647 w 634"/>
                <a:gd name="T9" fmla="*/ 2147483647 h 330"/>
                <a:gd name="T10" fmla="*/ 2147483647 w 634"/>
                <a:gd name="T11" fmla="*/ 2147483647 h 330"/>
                <a:gd name="T12" fmla="*/ 2147483647 w 634"/>
                <a:gd name="T13" fmla="*/ 2147483647 h 330"/>
                <a:gd name="T14" fmla="*/ 2147483647 w 634"/>
                <a:gd name="T15" fmla="*/ 2147483647 h 330"/>
                <a:gd name="T16" fmla="*/ 2147483647 w 634"/>
                <a:gd name="T17" fmla="*/ 2147483647 h 330"/>
                <a:gd name="T18" fmla="*/ 2147483647 w 634"/>
                <a:gd name="T19" fmla="*/ 2147483647 h 330"/>
                <a:gd name="T20" fmla="*/ 2147483647 w 634"/>
                <a:gd name="T21" fmla="*/ 2147483647 h 330"/>
                <a:gd name="T22" fmla="*/ 2147483647 w 634"/>
                <a:gd name="T23" fmla="*/ 2147483647 h 330"/>
                <a:gd name="T24" fmla="*/ 0 w 634"/>
                <a:gd name="T25" fmla="*/ 2147483647 h 330"/>
                <a:gd name="T26" fmla="*/ 2147483647 w 634"/>
                <a:gd name="T27" fmla="*/ 0 h 330"/>
                <a:gd name="T28" fmla="*/ 2147483647 w 634"/>
                <a:gd name="T29" fmla="*/ 0 h 330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634"/>
                <a:gd name="T46" fmla="*/ 0 h 330"/>
                <a:gd name="T47" fmla="*/ 634 w 634"/>
                <a:gd name="T48" fmla="*/ 330 h 330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634" h="330">
                  <a:moveTo>
                    <a:pt x="22" y="0"/>
                  </a:moveTo>
                  <a:lnTo>
                    <a:pt x="259" y="13"/>
                  </a:lnTo>
                  <a:lnTo>
                    <a:pt x="572" y="16"/>
                  </a:lnTo>
                  <a:lnTo>
                    <a:pt x="590" y="31"/>
                  </a:lnTo>
                  <a:lnTo>
                    <a:pt x="599" y="28"/>
                  </a:lnTo>
                  <a:lnTo>
                    <a:pt x="611" y="44"/>
                  </a:lnTo>
                  <a:lnTo>
                    <a:pt x="600" y="44"/>
                  </a:lnTo>
                  <a:lnTo>
                    <a:pt x="590" y="66"/>
                  </a:lnTo>
                  <a:lnTo>
                    <a:pt x="615" y="102"/>
                  </a:lnTo>
                  <a:lnTo>
                    <a:pt x="634" y="106"/>
                  </a:lnTo>
                  <a:lnTo>
                    <a:pt x="631" y="329"/>
                  </a:lnTo>
                  <a:lnTo>
                    <a:pt x="363" y="330"/>
                  </a:lnTo>
                  <a:lnTo>
                    <a:pt x="0" y="314"/>
                  </a:lnTo>
                  <a:lnTo>
                    <a:pt x="22" y="0"/>
                  </a:lnTo>
                  <a:close/>
                </a:path>
              </a:pathLst>
            </a:custGeom>
            <a:solidFill>
              <a:srgbClr val="66CCFF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9210" name="Freeform 59">
              <a:hlinkClick r:id="rId8"/>
            </p:cNvPr>
            <p:cNvSpPr>
              <a:spLocks/>
            </p:cNvSpPr>
            <p:nvPr/>
          </p:nvSpPr>
          <p:spPr bwMode="auto">
            <a:xfrm>
              <a:off x="3743325" y="3798888"/>
              <a:ext cx="1127125" cy="681037"/>
            </a:xfrm>
            <a:custGeom>
              <a:avLst/>
              <a:gdLst>
                <a:gd name="T0" fmla="*/ 2147483647 w 737"/>
                <a:gd name="T1" fmla="*/ 0 h 372"/>
                <a:gd name="T2" fmla="*/ 2147483647 w 737"/>
                <a:gd name="T3" fmla="*/ 2147483647 h 372"/>
                <a:gd name="T4" fmla="*/ 2147483647 w 737"/>
                <a:gd name="T5" fmla="*/ 2147483647 h 372"/>
                <a:gd name="T6" fmla="*/ 2147483647 w 737"/>
                <a:gd name="T7" fmla="*/ 2147483647 h 372"/>
                <a:gd name="T8" fmla="*/ 2147483647 w 737"/>
                <a:gd name="T9" fmla="*/ 2147483647 h 372"/>
                <a:gd name="T10" fmla="*/ 2147483647 w 737"/>
                <a:gd name="T11" fmla="*/ 2147483647 h 372"/>
                <a:gd name="T12" fmla="*/ 2147483647 w 737"/>
                <a:gd name="T13" fmla="*/ 2147483647 h 372"/>
                <a:gd name="T14" fmla="*/ 2147483647 w 737"/>
                <a:gd name="T15" fmla="*/ 2147483647 h 372"/>
                <a:gd name="T16" fmla="*/ 2147483647 w 737"/>
                <a:gd name="T17" fmla="*/ 2147483647 h 372"/>
                <a:gd name="T18" fmla="*/ 2147483647 w 737"/>
                <a:gd name="T19" fmla="*/ 2147483647 h 372"/>
                <a:gd name="T20" fmla="*/ 2147483647 w 737"/>
                <a:gd name="T21" fmla="*/ 2147483647 h 372"/>
                <a:gd name="T22" fmla="*/ 2147483647 w 737"/>
                <a:gd name="T23" fmla="*/ 2147483647 h 372"/>
                <a:gd name="T24" fmla="*/ 2147483647 w 737"/>
                <a:gd name="T25" fmla="*/ 2147483647 h 372"/>
                <a:gd name="T26" fmla="*/ 2147483647 w 737"/>
                <a:gd name="T27" fmla="*/ 2147483647 h 372"/>
                <a:gd name="T28" fmla="*/ 2147483647 w 737"/>
                <a:gd name="T29" fmla="*/ 2147483647 h 372"/>
                <a:gd name="T30" fmla="*/ 2147483647 w 737"/>
                <a:gd name="T31" fmla="*/ 2147483647 h 372"/>
                <a:gd name="T32" fmla="*/ 2147483647 w 737"/>
                <a:gd name="T33" fmla="*/ 2147483647 h 372"/>
                <a:gd name="T34" fmla="*/ 2147483647 w 737"/>
                <a:gd name="T35" fmla="*/ 2147483647 h 372"/>
                <a:gd name="T36" fmla="*/ 2147483647 w 737"/>
                <a:gd name="T37" fmla="*/ 2147483647 h 372"/>
                <a:gd name="T38" fmla="*/ 0 w 737"/>
                <a:gd name="T39" fmla="*/ 2147483647 h 372"/>
                <a:gd name="T40" fmla="*/ 2147483647 w 737"/>
                <a:gd name="T41" fmla="*/ 0 h 372"/>
                <a:gd name="T42" fmla="*/ 2147483647 w 737"/>
                <a:gd name="T43" fmla="*/ 0 h 372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w 737"/>
                <a:gd name="T67" fmla="*/ 0 h 372"/>
                <a:gd name="T68" fmla="*/ 737 w 737"/>
                <a:gd name="T69" fmla="*/ 372 h 372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T66" t="T67" r="T68" b="T69"/>
              <a:pathLst>
                <a:path w="737" h="372">
                  <a:moveTo>
                    <a:pt x="4" y="0"/>
                  </a:moveTo>
                  <a:lnTo>
                    <a:pt x="86" y="6"/>
                  </a:lnTo>
                  <a:lnTo>
                    <a:pt x="449" y="22"/>
                  </a:lnTo>
                  <a:lnTo>
                    <a:pt x="717" y="21"/>
                  </a:lnTo>
                  <a:lnTo>
                    <a:pt x="720" y="75"/>
                  </a:lnTo>
                  <a:lnTo>
                    <a:pt x="737" y="192"/>
                  </a:lnTo>
                  <a:lnTo>
                    <a:pt x="734" y="372"/>
                  </a:lnTo>
                  <a:lnTo>
                    <a:pt x="676" y="341"/>
                  </a:lnTo>
                  <a:lnTo>
                    <a:pt x="612" y="352"/>
                  </a:lnTo>
                  <a:lnTo>
                    <a:pt x="566" y="366"/>
                  </a:lnTo>
                  <a:lnTo>
                    <a:pt x="499" y="367"/>
                  </a:lnTo>
                  <a:lnTo>
                    <a:pt x="449" y="338"/>
                  </a:lnTo>
                  <a:lnTo>
                    <a:pt x="435" y="352"/>
                  </a:lnTo>
                  <a:lnTo>
                    <a:pt x="356" y="319"/>
                  </a:lnTo>
                  <a:lnTo>
                    <a:pt x="318" y="310"/>
                  </a:lnTo>
                  <a:lnTo>
                    <a:pt x="299" y="292"/>
                  </a:lnTo>
                  <a:lnTo>
                    <a:pt x="275" y="291"/>
                  </a:lnTo>
                  <a:lnTo>
                    <a:pt x="249" y="270"/>
                  </a:lnTo>
                  <a:lnTo>
                    <a:pt x="258" y="69"/>
                  </a:lnTo>
                  <a:lnTo>
                    <a:pt x="0" y="55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66CCFF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9211" name="Freeform 60">
              <a:hlinkClick r:id="rId9"/>
            </p:cNvPr>
            <p:cNvSpPr>
              <a:spLocks/>
            </p:cNvSpPr>
            <p:nvPr/>
          </p:nvSpPr>
          <p:spPr bwMode="auto">
            <a:xfrm>
              <a:off x="4532313" y="1749425"/>
              <a:ext cx="847725" cy="979488"/>
            </a:xfrm>
            <a:custGeom>
              <a:avLst/>
              <a:gdLst>
                <a:gd name="T0" fmla="*/ 2147483647 w 556"/>
                <a:gd name="T1" fmla="*/ 2147483647 h 600"/>
                <a:gd name="T2" fmla="*/ 2147483647 w 556"/>
                <a:gd name="T3" fmla="*/ 2147483647 h 600"/>
                <a:gd name="T4" fmla="*/ 2147483647 w 556"/>
                <a:gd name="T5" fmla="*/ 2147483647 h 600"/>
                <a:gd name="T6" fmla="*/ 2147483647 w 556"/>
                <a:gd name="T7" fmla="*/ 2147483647 h 600"/>
                <a:gd name="T8" fmla="*/ 2147483647 w 556"/>
                <a:gd name="T9" fmla="*/ 2147483647 h 600"/>
                <a:gd name="T10" fmla="*/ 2147483647 w 556"/>
                <a:gd name="T11" fmla="*/ 2147483647 h 600"/>
                <a:gd name="T12" fmla="*/ 2147483647 w 556"/>
                <a:gd name="T13" fmla="*/ 2147483647 h 600"/>
                <a:gd name="T14" fmla="*/ 2147483647 w 556"/>
                <a:gd name="T15" fmla="*/ 2147483647 h 600"/>
                <a:gd name="T16" fmla="*/ 2147483647 w 556"/>
                <a:gd name="T17" fmla="*/ 2147483647 h 600"/>
                <a:gd name="T18" fmla="*/ 2147483647 w 556"/>
                <a:gd name="T19" fmla="*/ 2147483647 h 600"/>
                <a:gd name="T20" fmla="*/ 2147483647 w 556"/>
                <a:gd name="T21" fmla="*/ 2147483647 h 600"/>
                <a:gd name="T22" fmla="*/ 2147483647 w 556"/>
                <a:gd name="T23" fmla="*/ 2147483647 h 600"/>
                <a:gd name="T24" fmla="*/ 2147483647 w 556"/>
                <a:gd name="T25" fmla="*/ 2147483647 h 600"/>
                <a:gd name="T26" fmla="*/ 2147483647 w 556"/>
                <a:gd name="T27" fmla="*/ 2147483647 h 600"/>
                <a:gd name="T28" fmla="*/ 2147483647 w 556"/>
                <a:gd name="T29" fmla="*/ 2147483647 h 600"/>
                <a:gd name="T30" fmla="*/ 2147483647 w 556"/>
                <a:gd name="T31" fmla="*/ 2147483647 h 600"/>
                <a:gd name="T32" fmla="*/ 2147483647 w 556"/>
                <a:gd name="T33" fmla="*/ 2147483647 h 600"/>
                <a:gd name="T34" fmla="*/ 2147483647 w 556"/>
                <a:gd name="T35" fmla="*/ 2147483647 h 600"/>
                <a:gd name="T36" fmla="*/ 2147483647 w 556"/>
                <a:gd name="T37" fmla="*/ 2147483647 h 600"/>
                <a:gd name="T38" fmla="*/ 2147483647 w 556"/>
                <a:gd name="T39" fmla="*/ 2147483647 h 600"/>
                <a:gd name="T40" fmla="*/ 2147483647 w 556"/>
                <a:gd name="T41" fmla="*/ 2147483647 h 600"/>
                <a:gd name="T42" fmla="*/ 2147483647 w 556"/>
                <a:gd name="T43" fmla="*/ 2147483647 h 600"/>
                <a:gd name="T44" fmla="*/ 2147483647 w 556"/>
                <a:gd name="T45" fmla="*/ 2147483647 h 600"/>
                <a:gd name="T46" fmla="*/ 2147483647 w 556"/>
                <a:gd name="T47" fmla="*/ 2147483647 h 600"/>
                <a:gd name="T48" fmla="*/ 2147483647 w 556"/>
                <a:gd name="T49" fmla="*/ 2147483647 h 600"/>
                <a:gd name="T50" fmla="*/ 2147483647 w 556"/>
                <a:gd name="T51" fmla="*/ 2147483647 h 600"/>
                <a:gd name="T52" fmla="*/ 2147483647 w 556"/>
                <a:gd name="T53" fmla="*/ 2147483647 h 600"/>
                <a:gd name="T54" fmla="*/ 2147483647 w 556"/>
                <a:gd name="T55" fmla="*/ 0 h 600"/>
                <a:gd name="T56" fmla="*/ 2147483647 w 556"/>
                <a:gd name="T57" fmla="*/ 0 h 600"/>
                <a:gd name="T58" fmla="*/ 2147483647 w 556"/>
                <a:gd name="T59" fmla="*/ 2147483647 h 600"/>
                <a:gd name="T60" fmla="*/ 0 w 556"/>
                <a:gd name="T61" fmla="*/ 2147483647 h 600"/>
                <a:gd name="T62" fmla="*/ 2147483647 w 556"/>
                <a:gd name="T63" fmla="*/ 2147483647 h 600"/>
                <a:gd name="T64" fmla="*/ 2147483647 w 556"/>
                <a:gd name="T65" fmla="*/ 2147483647 h 600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556"/>
                <a:gd name="T100" fmla="*/ 0 h 600"/>
                <a:gd name="T101" fmla="*/ 556 w 556"/>
                <a:gd name="T102" fmla="*/ 600 h 600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556" h="600">
                  <a:moveTo>
                    <a:pt x="3" y="114"/>
                  </a:moveTo>
                  <a:lnTo>
                    <a:pt x="26" y="185"/>
                  </a:lnTo>
                  <a:lnTo>
                    <a:pt x="29" y="273"/>
                  </a:lnTo>
                  <a:lnTo>
                    <a:pt x="43" y="345"/>
                  </a:lnTo>
                  <a:lnTo>
                    <a:pt x="24" y="382"/>
                  </a:lnTo>
                  <a:lnTo>
                    <a:pt x="52" y="409"/>
                  </a:lnTo>
                  <a:lnTo>
                    <a:pt x="51" y="600"/>
                  </a:lnTo>
                  <a:lnTo>
                    <a:pt x="456" y="593"/>
                  </a:lnTo>
                  <a:lnTo>
                    <a:pt x="451" y="555"/>
                  </a:lnTo>
                  <a:lnTo>
                    <a:pt x="406" y="522"/>
                  </a:lnTo>
                  <a:lnTo>
                    <a:pt x="385" y="499"/>
                  </a:lnTo>
                  <a:lnTo>
                    <a:pt x="330" y="465"/>
                  </a:lnTo>
                  <a:lnTo>
                    <a:pt x="332" y="410"/>
                  </a:lnTo>
                  <a:lnTo>
                    <a:pt x="320" y="373"/>
                  </a:lnTo>
                  <a:lnTo>
                    <a:pt x="364" y="320"/>
                  </a:lnTo>
                  <a:lnTo>
                    <a:pt x="361" y="267"/>
                  </a:lnTo>
                  <a:lnTo>
                    <a:pt x="436" y="213"/>
                  </a:lnTo>
                  <a:lnTo>
                    <a:pt x="454" y="182"/>
                  </a:lnTo>
                  <a:lnTo>
                    <a:pt x="556" y="129"/>
                  </a:lnTo>
                  <a:lnTo>
                    <a:pt x="510" y="109"/>
                  </a:lnTo>
                  <a:lnTo>
                    <a:pt x="470" y="114"/>
                  </a:lnTo>
                  <a:lnTo>
                    <a:pt x="461" y="99"/>
                  </a:lnTo>
                  <a:lnTo>
                    <a:pt x="387" y="98"/>
                  </a:lnTo>
                  <a:lnTo>
                    <a:pt x="338" y="83"/>
                  </a:lnTo>
                  <a:lnTo>
                    <a:pt x="235" y="73"/>
                  </a:lnTo>
                  <a:lnTo>
                    <a:pt x="220" y="55"/>
                  </a:lnTo>
                  <a:lnTo>
                    <a:pt x="179" y="39"/>
                  </a:lnTo>
                  <a:lnTo>
                    <a:pt x="171" y="0"/>
                  </a:lnTo>
                  <a:lnTo>
                    <a:pt x="146" y="0"/>
                  </a:lnTo>
                  <a:lnTo>
                    <a:pt x="146" y="28"/>
                  </a:lnTo>
                  <a:lnTo>
                    <a:pt x="0" y="28"/>
                  </a:lnTo>
                  <a:lnTo>
                    <a:pt x="3" y="114"/>
                  </a:lnTo>
                  <a:close/>
                </a:path>
              </a:pathLst>
            </a:custGeom>
            <a:solidFill>
              <a:srgbClr val="0070C0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9212" name="Freeform 61">
              <a:hlinkClick r:id="rId10"/>
            </p:cNvPr>
            <p:cNvSpPr>
              <a:spLocks/>
            </p:cNvSpPr>
            <p:nvPr/>
          </p:nvSpPr>
          <p:spPr bwMode="auto">
            <a:xfrm>
              <a:off x="4589463" y="2716213"/>
              <a:ext cx="781050" cy="534987"/>
            </a:xfrm>
            <a:custGeom>
              <a:avLst/>
              <a:gdLst>
                <a:gd name="T0" fmla="*/ 2147483647 w 510"/>
                <a:gd name="T1" fmla="*/ 2147483647 h 326"/>
                <a:gd name="T2" fmla="*/ 2147483647 w 510"/>
                <a:gd name="T3" fmla="*/ 2147483647 h 326"/>
                <a:gd name="T4" fmla="*/ 2147483647 w 510"/>
                <a:gd name="T5" fmla="*/ 2147483647 h 326"/>
                <a:gd name="T6" fmla="*/ 2147483647 w 510"/>
                <a:gd name="T7" fmla="*/ 2147483647 h 326"/>
                <a:gd name="T8" fmla="*/ 2147483647 w 510"/>
                <a:gd name="T9" fmla="*/ 2147483647 h 326"/>
                <a:gd name="T10" fmla="*/ 2147483647 w 510"/>
                <a:gd name="T11" fmla="*/ 2147483647 h 326"/>
                <a:gd name="T12" fmla="*/ 2147483647 w 510"/>
                <a:gd name="T13" fmla="*/ 2147483647 h 326"/>
                <a:gd name="T14" fmla="*/ 2147483647 w 510"/>
                <a:gd name="T15" fmla="*/ 2147483647 h 326"/>
                <a:gd name="T16" fmla="*/ 2147483647 w 510"/>
                <a:gd name="T17" fmla="*/ 2147483647 h 326"/>
                <a:gd name="T18" fmla="*/ 2147483647 w 510"/>
                <a:gd name="T19" fmla="*/ 2147483647 h 326"/>
                <a:gd name="T20" fmla="*/ 2147483647 w 510"/>
                <a:gd name="T21" fmla="*/ 2147483647 h 326"/>
                <a:gd name="T22" fmla="*/ 2147483647 w 510"/>
                <a:gd name="T23" fmla="*/ 2147483647 h 326"/>
                <a:gd name="T24" fmla="*/ 2147483647 w 510"/>
                <a:gd name="T25" fmla="*/ 2147483647 h 326"/>
                <a:gd name="T26" fmla="*/ 2147483647 w 510"/>
                <a:gd name="T27" fmla="*/ 2147483647 h 326"/>
                <a:gd name="T28" fmla="*/ 2147483647 w 510"/>
                <a:gd name="T29" fmla="*/ 2147483647 h 326"/>
                <a:gd name="T30" fmla="*/ 2147483647 w 510"/>
                <a:gd name="T31" fmla="*/ 2147483647 h 326"/>
                <a:gd name="T32" fmla="*/ 2147483647 w 510"/>
                <a:gd name="T33" fmla="*/ 2147483647 h 326"/>
                <a:gd name="T34" fmla="*/ 2147483647 w 510"/>
                <a:gd name="T35" fmla="*/ 2147483647 h 326"/>
                <a:gd name="T36" fmla="*/ 2147483647 w 510"/>
                <a:gd name="T37" fmla="*/ 0 h 326"/>
                <a:gd name="T38" fmla="*/ 2147483647 w 510"/>
                <a:gd name="T39" fmla="*/ 2147483647 h 326"/>
                <a:gd name="T40" fmla="*/ 0 w 510"/>
                <a:gd name="T41" fmla="*/ 2147483647 h 326"/>
                <a:gd name="T42" fmla="*/ 2147483647 w 510"/>
                <a:gd name="T43" fmla="*/ 2147483647 h 326"/>
                <a:gd name="T44" fmla="*/ 2147483647 w 510"/>
                <a:gd name="T45" fmla="*/ 2147483647 h 32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w 510"/>
                <a:gd name="T70" fmla="*/ 0 h 326"/>
                <a:gd name="T71" fmla="*/ 510 w 510"/>
                <a:gd name="T72" fmla="*/ 326 h 326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T69" t="T70" r="T71" b="T72"/>
              <a:pathLst>
                <a:path w="510" h="326">
                  <a:moveTo>
                    <a:pt x="1" y="31"/>
                  </a:moveTo>
                  <a:lnTo>
                    <a:pt x="10" y="50"/>
                  </a:lnTo>
                  <a:lnTo>
                    <a:pt x="4" y="68"/>
                  </a:lnTo>
                  <a:lnTo>
                    <a:pt x="10" y="114"/>
                  </a:lnTo>
                  <a:lnTo>
                    <a:pt x="34" y="178"/>
                  </a:lnTo>
                  <a:lnTo>
                    <a:pt x="34" y="198"/>
                  </a:lnTo>
                  <a:lnTo>
                    <a:pt x="51" y="229"/>
                  </a:lnTo>
                  <a:lnTo>
                    <a:pt x="58" y="277"/>
                  </a:lnTo>
                  <a:lnTo>
                    <a:pt x="53" y="292"/>
                  </a:lnTo>
                  <a:lnTo>
                    <a:pt x="64" y="308"/>
                  </a:lnTo>
                  <a:lnTo>
                    <a:pt x="394" y="301"/>
                  </a:lnTo>
                  <a:lnTo>
                    <a:pt x="417" y="326"/>
                  </a:lnTo>
                  <a:lnTo>
                    <a:pt x="452" y="252"/>
                  </a:lnTo>
                  <a:lnTo>
                    <a:pt x="441" y="224"/>
                  </a:lnTo>
                  <a:lnTo>
                    <a:pt x="499" y="180"/>
                  </a:lnTo>
                  <a:lnTo>
                    <a:pt x="510" y="148"/>
                  </a:lnTo>
                  <a:lnTo>
                    <a:pt x="468" y="100"/>
                  </a:lnTo>
                  <a:lnTo>
                    <a:pt x="426" y="52"/>
                  </a:lnTo>
                  <a:lnTo>
                    <a:pt x="417" y="0"/>
                  </a:lnTo>
                  <a:lnTo>
                    <a:pt x="12" y="7"/>
                  </a:lnTo>
                  <a:lnTo>
                    <a:pt x="0" y="6"/>
                  </a:lnTo>
                  <a:lnTo>
                    <a:pt x="1" y="31"/>
                  </a:lnTo>
                  <a:close/>
                </a:path>
              </a:pathLst>
            </a:custGeom>
            <a:solidFill>
              <a:srgbClr val="0070C0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9213" name="Freeform 62"/>
            <p:cNvSpPr>
              <a:spLocks/>
            </p:cNvSpPr>
            <p:nvPr/>
          </p:nvSpPr>
          <p:spPr bwMode="auto">
            <a:xfrm>
              <a:off x="4687888" y="3209925"/>
              <a:ext cx="866775" cy="781050"/>
            </a:xfrm>
            <a:custGeom>
              <a:avLst/>
              <a:gdLst>
                <a:gd name="T0" fmla="*/ 2147483647 w 567"/>
                <a:gd name="T1" fmla="*/ 2147483647 h 478"/>
                <a:gd name="T2" fmla="*/ 2147483647 w 567"/>
                <a:gd name="T3" fmla="*/ 2147483647 h 478"/>
                <a:gd name="T4" fmla="*/ 2147483647 w 567"/>
                <a:gd name="T5" fmla="*/ 2147483647 h 478"/>
                <a:gd name="T6" fmla="*/ 2147483647 w 567"/>
                <a:gd name="T7" fmla="*/ 2147483647 h 478"/>
                <a:gd name="T8" fmla="*/ 2147483647 w 567"/>
                <a:gd name="T9" fmla="*/ 2147483647 h 478"/>
                <a:gd name="T10" fmla="*/ 2147483647 w 567"/>
                <a:gd name="T11" fmla="*/ 2147483647 h 478"/>
                <a:gd name="T12" fmla="*/ 2147483647 w 567"/>
                <a:gd name="T13" fmla="*/ 2147483647 h 478"/>
                <a:gd name="T14" fmla="*/ 2147483647 w 567"/>
                <a:gd name="T15" fmla="*/ 2147483647 h 478"/>
                <a:gd name="T16" fmla="*/ 2147483647 w 567"/>
                <a:gd name="T17" fmla="*/ 2147483647 h 478"/>
                <a:gd name="T18" fmla="*/ 2147483647 w 567"/>
                <a:gd name="T19" fmla="*/ 2147483647 h 478"/>
                <a:gd name="T20" fmla="*/ 2147483647 w 567"/>
                <a:gd name="T21" fmla="*/ 2147483647 h 478"/>
                <a:gd name="T22" fmla="*/ 2147483647 w 567"/>
                <a:gd name="T23" fmla="*/ 2147483647 h 478"/>
                <a:gd name="T24" fmla="*/ 2147483647 w 567"/>
                <a:gd name="T25" fmla="*/ 2147483647 h 478"/>
                <a:gd name="T26" fmla="*/ 2147483647 w 567"/>
                <a:gd name="T27" fmla="*/ 2147483647 h 478"/>
                <a:gd name="T28" fmla="*/ 2147483647 w 567"/>
                <a:gd name="T29" fmla="*/ 2147483647 h 478"/>
                <a:gd name="T30" fmla="*/ 2147483647 w 567"/>
                <a:gd name="T31" fmla="*/ 2147483647 h 478"/>
                <a:gd name="T32" fmla="*/ 2147483647 w 567"/>
                <a:gd name="T33" fmla="*/ 2147483647 h 478"/>
                <a:gd name="T34" fmla="*/ 2147483647 w 567"/>
                <a:gd name="T35" fmla="*/ 2147483647 h 478"/>
                <a:gd name="T36" fmla="*/ 2147483647 w 567"/>
                <a:gd name="T37" fmla="*/ 2147483647 h 478"/>
                <a:gd name="T38" fmla="*/ 2147483647 w 567"/>
                <a:gd name="T39" fmla="*/ 2147483647 h 478"/>
                <a:gd name="T40" fmla="*/ 2147483647 w 567"/>
                <a:gd name="T41" fmla="*/ 2147483647 h 478"/>
                <a:gd name="T42" fmla="*/ 2147483647 w 567"/>
                <a:gd name="T43" fmla="*/ 2147483647 h 478"/>
                <a:gd name="T44" fmla="*/ 2147483647 w 567"/>
                <a:gd name="T45" fmla="*/ 2147483647 h 478"/>
                <a:gd name="T46" fmla="*/ 2147483647 w 567"/>
                <a:gd name="T47" fmla="*/ 2147483647 h 478"/>
                <a:gd name="T48" fmla="*/ 2147483647 w 567"/>
                <a:gd name="T49" fmla="*/ 2147483647 h 478"/>
                <a:gd name="T50" fmla="*/ 2147483647 w 567"/>
                <a:gd name="T51" fmla="*/ 2147483647 h 478"/>
                <a:gd name="T52" fmla="*/ 2147483647 w 567"/>
                <a:gd name="T53" fmla="*/ 2147483647 h 478"/>
                <a:gd name="T54" fmla="*/ 2147483647 w 567"/>
                <a:gd name="T55" fmla="*/ 2147483647 h 478"/>
                <a:gd name="T56" fmla="*/ 2147483647 w 567"/>
                <a:gd name="T57" fmla="*/ 2147483647 h 478"/>
                <a:gd name="T58" fmla="*/ 2147483647 w 567"/>
                <a:gd name="T59" fmla="*/ 2147483647 h 478"/>
                <a:gd name="T60" fmla="*/ 2147483647 w 567"/>
                <a:gd name="T61" fmla="*/ 2147483647 h 478"/>
                <a:gd name="T62" fmla="*/ 2147483647 w 567"/>
                <a:gd name="T63" fmla="*/ 2147483647 h 478"/>
                <a:gd name="T64" fmla="*/ 2147483647 w 567"/>
                <a:gd name="T65" fmla="*/ 2147483647 h 478"/>
                <a:gd name="T66" fmla="*/ 2147483647 w 567"/>
                <a:gd name="T67" fmla="*/ 0 h 478"/>
                <a:gd name="T68" fmla="*/ 0 w 567"/>
                <a:gd name="T69" fmla="*/ 2147483647 h 478"/>
                <a:gd name="T70" fmla="*/ 2147483647 w 567"/>
                <a:gd name="T71" fmla="*/ 2147483647 h 478"/>
                <a:gd name="T72" fmla="*/ 2147483647 w 567"/>
                <a:gd name="T73" fmla="*/ 2147483647 h 478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w 567"/>
                <a:gd name="T112" fmla="*/ 0 h 478"/>
                <a:gd name="T113" fmla="*/ 567 w 567"/>
                <a:gd name="T114" fmla="*/ 478 h 478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T111" t="T112" r="T113" b="T114"/>
              <a:pathLst>
                <a:path w="567" h="478">
                  <a:moveTo>
                    <a:pt x="34" y="69"/>
                  </a:moveTo>
                  <a:lnTo>
                    <a:pt x="52" y="84"/>
                  </a:lnTo>
                  <a:lnTo>
                    <a:pt x="61" y="81"/>
                  </a:lnTo>
                  <a:lnTo>
                    <a:pt x="73" y="97"/>
                  </a:lnTo>
                  <a:lnTo>
                    <a:pt x="62" y="97"/>
                  </a:lnTo>
                  <a:lnTo>
                    <a:pt x="52" y="119"/>
                  </a:lnTo>
                  <a:lnTo>
                    <a:pt x="77" y="155"/>
                  </a:lnTo>
                  <a:lnTo>
                    <a:pt x="96" y="159"/>
                  </a:lnTo>
                  <a:lnTo>
                    <a:pt x="93" y="382"/>
                  </a:lnTo>
                  <a:lnTo>
                    <a:pt x="96" y="436"/>
                  </a:lnTo>
                  <a:lnTo>
                    <a:pt x="474" y="424"/>
                  </a:lnTo>
                  <a:lnTo>
                    <a:pt x="478" y="457"/>
                  </a:lnTo>
                  <a:lnTo>
                    <a:pt x="462" y="478"/>
                  </a:lnTo>
                  <a:lnTo>
                    <a:pt x="520" y="475"/>
                  </a:lnTo>
                  <a:lnTo>
                    <a:pt x="530" y="457"/>
                  </a:lnTo>
                  <a:lnTo>
                    <a:pt x="530" y="436"/>
                  </a:lnTo>
                  <a:lnTo>
                    <a:pt x="545" y="422"/>
                  </a:lnTo>
                  <a:lnTo>
                    <a:pt x="548" y="405"/>
                  </a:lnTo>
                  <a:lnTo>
                    <a:pt x="563" y="404"/>
                  </a:lnTo>
                  <a:lnTo>
                    <a:pt x="567" y="371"/>
                  </a:lnTo>
                  <a:lnTo>
                    <a:pt x="547" y="367"/>
                  </a:lnTo>
                  <a:lnTo>
                    <a:pt x="533" y="343"/>
                  </a:lnTo>
                  <a:lnTo>
                    <a:pt x="512" y="286"/>
                  </a:lnTo>
                  <a:lnTo>
                    <a:pt x="489" y="279"/>
                  </a:lnTo>
                  <a:lnTo>
                    <a:pt x="462" y="256"/>
                  </a:lnTo>
                  <a:lnTo>
                    <a:pt x="452" y="227"/>
                  </a:lnTo>
                  <a:lnTo>
                    <a:pt x="468" y="181"/>
                  </a:lnTo>
                  <a:lnTo>
                    <a:pt x="455" y="172"/>
                  </a:lnTo>
                  <a:lnTo>
                    <a:pt x="422" y="172"/>
                  </a:lnTo>
                  <a:lnTo>
                    <a:pt x="414" y="144"/>
                  </a:lnTo>
                  <a:lnTo>
                    <a:pt x="361" y="88"/>
                  </a:lnTo>
                  <a:lnTo>
                    <a:pt x="348" y="43"/>
                  </a:lnTo>
                  <a:lnTo>
                    <a:pt x="353" y="25"/>
                  </a:lnTo>
                  <a:lnTo>
                    <a:pt x="330" y="0"/>
                  </a:lnTo>
                  <a:lnTo>
                    <a:pt x="0" y="7"/>
                  </a:lnTo>
                  <a:lnTo>
                    <a:pt x="34" y="69"/>
                  </a:lnTo>
                  <a:close/>
                </a:path>
              </a:pathLst>
            </a:custGeom>
            <a:solidFill>
              <a:srgbClr val="66CCFF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9214" name="Freeform 63">
              <a:hlinkClick r:id="rId11"/>
            </p:cNvPr>
            <p:cNvSpPr>
              <a:spLocks/>
            </p:cNvSpPr>
            <p:nvPr/>
          </p:nvSpPr>
          <p:spPr bwMode="auto">
            <a:xfrm>
              <a:off x="4832350" y="3903663"/>
              <a:ext cx="658813" cy="652462"/>
            </a:xfrm>
            <a:custGeom>
              <a:avLst/>
              <a:gdLst>
                <a:gd name="T0" fmla="*/ 2147483647 w 431"/>
                <a:gd name="T1" fmla="*/ 2147483647 h 374"/>
                <a:gd name="T2" fmla="*/ 2147483647 w 431"/>
                <a:gd name="T3" fmla="*/ 2147483647 h 374"/>
                <a:gd name="T4" fmla="*/ 2147483647 w 431"/>
                <a:gd name="T5" fmla="*/ 2147483647 h 374"/>
                <a:gd name="T6" fmla="*/ 2147483647 w 431"/>
                <a:gd name="T7" fmla="*/ 2147483647 h 374"/>
                <a:gd name="T8" fmla="*/ 2147483647 w 431"/>
                <a:gd name="T9" fmla="*/ 2147483647 h 374"/>
                <a:gd name="T10" fmla="*/ 2147483647 w 431"/>
                <a:gd name="T11" fmla="*/ 2147483647 h 374"/>
                <a:gd name="T12" fmla="*/ 2147483647 w 431"/>
                <a:gd name="T13" fmla="*/ 2147483647 h 374"/>
                <a:gd name="T14" fmla="*/ 2147483647 w 431"/>
                <a:gd name="T15" fmla="*/ 2147483647 h 374"/>
                <a:gd name="T16" fmla="*/ 2147483647 w 431"/>
                <a:gd name="T17" fmla="*/ 2147483647 h 374"/>
                <a:gd name="T18" fmla="*/ 2147483647 w 431"/>
                <a:gd name="T19" fmla="*/ 2147483647 h 374"/>
                <a:gd name="T20" fmla="*/ 2147483647 w 431"/>
                <a:gd name="T21" fmla="*/ 2147483647 h 374"/>
                <a:gd name="T22" fmla="*/ 2147483647 w 431"/>
                <a:gd name="T23" fmla="*/ 2147483647 h 374"/>
                <a:gd name="T24" fmla="*/ 2147483647 w 431"/>
                <a:gd name="T25" fmla="*/ 2147483647 h 374"/>
                <a:gd name="T26" fmla="*/ 2147483647 w 431"/>
                <a:gd name="T27" fmla="*/ 2147483647 h 374"/>
                <a:gd name="T28" fmla="*/ 2147483647 w 431"/>
                <a:gd name="T29" fmla="*/ 2147483647 h 374"/>
                <a:gd name="T30" fmla="*/ 2147483647 w 431"/>
                <a:gd name="T31" fmla="*/ 2147483647 h 374"/>
                <a:gd name="T32" fmla="*/ 2147483647 w 431"/>
                <a:gd name="T33" fmla="*/ 2147483647 h 374"/>
                <a:gd name="T34" fmla="*/ 2147483647 w 431"/>
                <a:gd name="T35" fmla="*/ 2147483647 h 374"/>
                <a:gd name="T36" fmla="*/ 2147483647 w 431"/>
                <a:gd name="T37" fmla="*/ 0 h 374"/>
                <a:gd name="T38" fmla="*/ 0 w 431"/>
                <a:gd name="T39" fmla="*/ 2147483647 h 374"/>
                <a:gd name="T40" fmla="*/ 2147483647 w 431"/>
                <a:gd name="T41" fmla="*/ 2147483647 h 374"/>
                <a:gd name="T42" fmla="*/ 2147483647 w 431"/>
                <a:gd name="T43" fmla="*/ 2147483647 h 374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w 431"/>
                <a:gd name="T67" fmla="*/ 0 h 374"/>
                <a:gd name="T68" fmla="*/ 431 w 431"/>
                <a:gd name="T69" fmla="*/ 374 h 374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T66" t="T67" r="T68" b="T69"/>
              <a:pathLst>
                <a:path w="431" h="374">
                  <a:moveTo>
                    <a:pt x="17" y="129"/>
                  </a:moveTo>
                  <a:lnTo>
                    <a:pt x="14" y="309"/>
                  </a:lnTo>
                  <a:lnTo>
                    <a:pt x="23" y="319"/>
                  </a:lnTo>
                  <a:lnTo>
                    <a:pt x="54" y="319"/>
                  </a:lnTo>
                  <a:lnTo>
                    <a:pt x="55" y="374"/>
                  </a:lnTo>
                  <a:lnTo>
                    <a:pt x="311" y="371"/>
                  </a:lnTo>
                  <a:lnTo>
                    <a:pt x="307" y="315"/>
                  </a:lnTo>
                  <a:lnTo>
                    <a:pt x="327" y="253"/>
                  </a:lnTo>
                  <a:lnTo>
                    <a:pt x="360" y="210"/>
                  </a:lnTo>
                  <a:lnTo>
                    <a:pt x="357" y="198"/>
                  </a:lnTo>
                  <a:lnTo>
                    <a:pt x="381" y="158"/>
                  </a:lnTo>
                  <a:lnTo>
                    <a:pt x="394" y="115"/>
                  </a:lnTo>
                  <a:lnTo>
                    <a:pt x="390" y="113"/>
                  </a:lnTo>
                  <a:lnTo>
                    <a:pt x="411" y="96"/>
                  </a:lnTo>
                  <a:lnTo>
                    <a:pt x="431" y="59"/>
                  </a:lnTo>
                  <a:lnTo>
                    <a:pt x="424" y="51"/>
                  </a:lnTo>
                  <a:lnTo>
                    <a:pt x="366" y="54"/>
                  </a:lnTo>
                  <a:lnTo>
                    <a:pt x="382" y="33"/>
                  </a:lnTo>
                  <a:lnTo>
                    <a:pt x="378" y="0"/>
                  </a:lnTo>
                  <a:lnTo>
                    <a:pt x="0" y="12"/>
                  </a:lnTo>
                  <a:lnTo>
                    <a:pt x="17" y="129"/>
                  </a:lnTo>
                  <a:close/>
                </a:path>
              </a:pathLst>
            </a:custGeom>
            <a:solidFill>
              <a:srgbClr val="66CCFF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9215" name="Freeform 64">
              <a:hlinkClick r:id="rId8"/>
            </p:cNvPr>
            <p:cNvSpPr>
              <a:spLocks/>
            </p:cNvSpPr>
            <p:nvPr/>
          </p:nvSpPr>
          <p:spPr bwMode="auto">
            <a:xfrm>
              <a:off x="4953000" y="4556125"/>
              <a:ext cx="746125" cy="666750"/>
            </a:xfrm>
            <a:custGeom>
              <a:avLst/>
              <a:gdLst>
                <a:gd name="T0" fmla="*/ 0 w 488"/>
                <a:gd name="T1" fmla="*/ 2147483647 h 409"/>
                <a:gd name="T2" fmla="*/ 2147483647 w 488"/>
                <a:gd name="T3" fmla="*/ 2147483647 h 409"/>
                <a:gd name="T4" fmla="*/ 2147483647 w 488"/>
                <a:gd name="T5" fmla="*/ 2147483647 h 409"/>
                <a:gd name="T6" fmla="*/ 2147483647 w 488"/>
                <a:gd name="T7" fmla="*/ 2147483647 h 409"/>
                <a:gd name="T8" fmla="*/ 2147483647 w 488"/>
                <a:gd name="T9" fmla="*/ 2147483647 h 409"/>
                <a:gd name="T10" fmla="*/ 2147483647 w 488"/>
                <a:gd name="T11" fmla="*/ 2147483647 h 409"/>
                <a:gd name="T12" fmla="*/ 2147483647 w 488"/>
                <a:gd name="T13" fmla="*/ 2147483647 h 409"/>
                <a:gd name="T14" fmla="*/ 2147483647 w 488"/>
                <a:gd name="T15" fmla="*/ 2147483647 h 409"/>
                <a:gd name="T16" fmla="*/ 2147483647 w 488"/>
                <a:gd name="T17" fmla="*/ 2147483647 h 409"/>
                <a:gd name="T18" fmla="*/ 2147483647 w 488"/>
                <a:gd name="T19" fmla="*/ 2147483647 h 409"/>
                <a:gd name="T20" fmla="*/ 2147483647 w 488"/>
                <a:gd name="T21" fmla="*/ 2147483647 h 409"/>
                <a:gd name="T22" fmla="*/ 2147483647 w 488"/>
                <a:gd name="T23" fmla="*/ 2147483647 h 409"/>
                <a:gd name="T24" fmla="*/ 2147483647 w 488"/>
                <a:gd name="T25" fmla="*/ 2147483647 h 409"/>
                <a:gd name="T26" fmla="*/ 2147483647 w 488"/>
                <a:gd name="T27" fmla="*/ 2147483647 h 409"/>
                <a:gd name="T28" fmla="*/ 2147483647 w 488"/>
                <a:gd name="T29" fmla="*/ 2147483647 h 409"/>
                <a:gd name="T30" fmla="*/ 2147483647 w 488"/>
                <a:gd name="T31" fmla="*/ 2147483647 h 409"/>
                <a:gd name="T32" fmla="*/ 2147483647 w 488"/>
                <a:gd name="T33" fmla="*/ 2147483647 h 409"/>
                <a:gd name="T34" fmla="*/ 2147483647 w 488"/>
                <a:gd name="T35" fmla="*/ 2147483647 h 409"/>
                <a:gd name="T36" fmla="*/ 2147483647 w 488"/>
                <a:gd name="T37" fmla="*/ 2147483647 h 409"/>
                <a:gd name="T38" fmla="*/ 2147483647 w 488"/>
                <a:gd name="T39" fmla="*/ 2147483647 h 409"/>
                <a:gd name="T40" fmla="*/ 2147483647 w 488"/>
                <a:gd name="T41" fmla="*/ 2147483647 h 409"/>
                <a:gd name="T42" fmla="*/ 2147483647 w 488"/>
                <a:gd name="T43" fmla="*/ 2147483647 h 409"/>
                <a:gd name="T44" fmla="*/ 2147483647 w 488"/>
                <a:gd name="T45" fmla="*/ 2147483647 h 409"/>
                <a:gd name="T46" fmla="*/ 2147483647 w 488"/>
                <a:gd name="T47" fmla="*/ 2147483647 h 409"/>
                <a:gd name="T48" fmla="*/ 2147483647 w 488"/>
                <a:gd name="T49" fmla="*/ 2147483647 h 409"/>
                <a:gd name="T50" fmla="*/ 2147483647 w 488"/>
                <a:gd name="T51" fmla="*/ 2147483647 h 409"/>
                <a:gd name="T52" fmla="*/ 2147483647 w 488"/>
                <a:gd name="T53" fmla="*/ 2147483647 h 409"/>
                <a:gd name="T54" fmla="*/ 2147483647 w 488"/>
                <a:gd name="T55" fmla="*/ 2147483647 h 409"/>
                <a:gd name="T56" fmla="*/ 2147483647 w 488"/>
                <a:gd name="T57" fmla="*/ 2147483647 h 409"/>
                <a:gd name="T58" fmla="*/ 2147483647 w 488"/>
                <a:gd name="T59" fmla="*/ 2147483647 h 409"/>
                <a:gd name="T60" fmla="*/ 2147483647 w 488"/>
                <a:gd name="T61" fmla="*/ 2147483647 h 409"/>
                <a:gd name="T62" fmla="*/ 2147483647 w 488"/>
                <a:gd name="T63" fmla="*/ 2147483647 h 409"/>
                <a:gd name="T64" fmla="*/ 2147483647 w 488"/>
                <a:gd name="T65" fmla="*/ 2147483647 h 409"/>
                <a:gd name="T66" fmla="*/ 2147483647 w 488"/>
                <a:gd name="T67" fmla="*/ 2147483647 h 409"/>
                <a:gd name="T68" fmla="*/ 2147483647 w 488"/>
                <a:gd name="T69" fmla="*/ 2147483647 h 409"/>
                <a:gd name="T70" fmla="*/ 2147483647 w 488"/>
                <a:gd name="T71" fmla="*/ 2147483647 h 409"/>
                <a:gd name="T72" fmla="*/ 2147483647 w 488"/>
                <a:gd name="T73" fmla="*/ 2147483647 h 409"/>
                <a:gd name="T74" fmla="*/ 2147483647 w 488"/>
                <a:gd name="T75" fmla="*/ 0 h 409"/>
                <a:gd name="T76" fmla="*/ 0 w 488"/>
                <a:gd name="T77" fmla="*/ 2147483647 h 409"/>
                <a:gd name="T78" fmla="*/ 0 w 488"/>
                <a:gd name="T79" fmla="*/ 2147483647 h 409"/>
                <a:gd name="T80" fmla="*/ 0 w 488"/>
                <a:gd name="T81" fmla="*/ 2147483647 h 409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488"/>
                <a:gd name="T124" fmla="*/ 0 h 409"/>
                <a:gd name="T125" fmla="*/ 488 w 488"/>
                <a:gd name="T126" fmla="*/ 409 h 409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488" h="409">
                  <a:moveTo>
                    <a:pt x="0" y="3"/>
                  </a:moveTo>
                  <a:lnTo>
                    <a:pt x="5" y="113"/>
                  </a:lnTo>
                  <a:lnTo>
                    <a:pt x="49" y="194"/>
                  </a:lnTo>
                  <a:lnTo>
                    <a:pt x="33" y="258"/>
                  </a:lnTo>
                  <a:lnTo>
                    <a:pt x="36" y="311"/>
                  </a:lnTo>
                  <a:lnTo>
                    <a:pt x="17" y="337"/>
                  </a:lnTo>
                  <a:lnTo>
                    <a:pt x="24" y="346"/>
                  </a:lnTo>
                  <a:lnTo>
                    <a:pt x="90" y="339"/>
                  </a:lnTo>
                  <a:lnTo>
                    <a:pt x="170" y="359"/>
                  </a:lnTo>
                  <a:lnTo>
                    <a:pt x="197" y="339"/>
                  </a:lnTo>
                  <a:lnTo>
                    <a:pt x="275" y="371"/>
                  </a:lnTo>
                  <a:lnTo>
                    <a:pt x="281" y="389"/>
                  </a:lnTo>
                  <a:lnTo>
                    <a:pt x="311" y="402"/>
                  </a:lnTo>
                  <a:lnTo>
                    <a:pt x="327" y="386"/>
                  </a:lnTo>
                  <a:lnTo>
                    <a:pt x="364" y="401"/>
                  </a:lnTo>
                  <a:lnTo>
                    <a:pt x="388" y="389"/>
                  </a:lnTo>
                  <a:lnTo>
                    <a:pt x="384" y="365"/>
                  </a:lnTo>
                  <a:lnTo>
                    <a:pt x="448" y="386"/>
                  </a:lnTo>
                  <a:lnTo>
                    <a:pt x="445" y="409"/>
                  </a:lnTo>
                  <a:lnTo>
                    <a:pt x="488" y="380"/>
                  </a:lnTo>
                  <a:lnTo>
                    <a:pt x="449" y="376"/>
                  </a:lnTo>
                  <a:lnTo>
                    <a:pt x="421" y="345"/>
                  </a:lnTo>
                  <a:lnTo>
                    <a:pt x="457" y="306"/>
                  </a:lnTo>
                  <a:lnTo>
                    <a:pt x="457" y="284"/>
                  </a:lnTo>
                  <a:lnTo>
                    <a:pt x="416" y="317"/>
                  </a:lnTo>
                  <a:lnTo>
                    <a:pt x="397" y="306"/>
                  </a:lnTo>
                  <a:lnTo>
                    <a:pt x="413" y="289"/>
                  </a:lnTo>
                  <a:lnTo>
                    <a:pt x="369" y="302"/>
                  </a:lnTo>
                  <a:lnTo>
                    <a:pt x="341" y="290"/>
                  </a:lnTo>
                  <a:lnTo>
                    <a:pt x="348" y="271"/>
                  </a:lnTo>
                  <a:lnTo>
                    <a:pt x="424" y="284"/>
                  </a:lnTo>
                  <a:lnTo>
                    <a:pt x="394" y="235"/>
                  </a:lnTo>
                  <a:lnTo>
                    <a:pt x="399" y="200"/>
                  </a:lnTo>
                  <a:lnTo>
                    <a:pt x="226" y="207"/>
                  </a:lnTo>
                  <a:lnTo>
                    <a:pt x="247" y="131"/>
                  </a:lnTo>
                  <a:lnTo>
                    <a:pt x="277" y="92"/>
                  </a:lnTo>
                  <a:lnTo>
                    <a:pt x="268" y="82"/>
                  </a:lnTo>
                  <a:lnTo>
                    <a:pt x="256" y="0"/>
                  </a:lnTo>
                  <a:lnTo>
                    <a:pt x="0" y="3"/>
                  </a:lnTo>
                  <a:close/>
                </a:path>
              </a:pathLst>
            </a:custGeom>
            <a:solidFill>
              <a:srgbClr val="66CCFF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9216" name="Freeform 65"/>
            <p:cNvSpPr>
              <a:spLocks/>
            </p:cNvSpPr>
            <p:nvPr/>
          </p:nvSpPr>
          <p:spPr bwMode="auto">
            <a:xfrm>
              <a:off x="5354638" y="2062163"/>
              <a:ext cx="742950" cy="395287"/>
            </a:xfrm>
            <a:custGeom>
              <a:avLst/>
              <a:gdLst>
                <a:gd name="T0" fmla="*/ 2147483647 w 485"/>
                <a:gd name="T1" fmla="*/ 2147483647 h 241"/>
                <a:gd name="T2" fmla="*/ 2147483647 w 485"/>
                <a:gd name="T3" fmla="*/ 2147483647 h 241"/>
                <a:gd name="T4" fmla="*/ 2147483647 w 485"/>
                <a:gd name="T5" fmla="*/ 2147483647 h 241"/>
                <a:gd name="T6" fmla="*/ 2147483647 w 485"/>
                <a:gd name="T7" fmla="*/ 2147483647 h 241"/>
                <a:gd name="T8" fmla="*/ 2147483647 w 485"/>
                <a:gd name="T9" fmla="*/ 2147483647 h 241"/>
                <a:gd name="T10" fmla="*/ 2147483647 w 485"/>
                <a:gd name="T11" fmla="*/ 2147483647 h 241"/>
                <a:gd name="T12" fmla="*/ 2147483647 w 485"/>
                <a:gd name="T13" fmla="*/ 2147483647 h 241"/>
                <a:gd name="T14" fmla="*/ 2147483647 w 485"/>
                <a:gd name="T15" fmla="*/ 2147483647 h 241"/>
                <a:gd name="T16" fmla="*/ 2147483647 w 485"/>
                <a:gd name="T17" fmla="*/ 2147483647 h 241"/>
                <a:gd name="T18" fmla="*/ 2147483647 w 485"/>
                <a:gd name="T19" fmla="*/ 2147483647 h 241"/>
                <a:gd name="T20" fmla="*/ 2147483647 w 485"/>
                <a:gd name="T21" fmla="*/ 2147483647 h 241"/>
                <a:gd name="T22" fmla="*/ 2147483647 w 485"/>
                <a:gd name="T23" fmla="*/ 2147483647 h 241"/>
                <a:gd name="T24" fmla="*/ 2147483647 w 485"/>
                <a:gd name="T25" fmla="*/ 2147483647 h 241"/>
                <a:gd name="T26" fmla="*/ 2147483647 w 485"/>
                <a:gd name="T27" fmla="*/ 2147483647 h 241"/>
                <a:gd name="T28" fmla="*/ 2147483647 w 485"/>
                <a:gd name="T29" fmla="*/ 2147483647 h 241"/>
                <a:gd name="T30" fmla="*/ 2147483647 w 485"/>
                <a:gd name="T31" fmla="*/ 2147483647 h 241"/>
                <a:gd name="T32" fmla="*/ 2147483647 w 485"/>
                <a:gd name="T33" fmla="*/ 2147483647 h 241"/>
                <a:gd name="T34" fmla="*/ 2147483647 w 485"/>
                <a:gd name="T35" fmla="*/ 2147483647 h 241"/>
                <a:gd name="T36" fmla="*/ 2147483647 w 485"/>
                <a:gd name="T37" fmla="*/ 2147483647 h 241"/>
                <a:gd name="T38" fmla="*/ 2147483647 w 485"/>
                <a:gd name="T39" fmla="*/ 2147483647 h 241"/>
                <a:gd name="T40" fmla="*/ 2147483647 w 485"/>
                <a:gd name="T41" fmla="*/ 2147483647 h 241"/>
                <a:gd name="T42" fmla="*/ 2147483647 w 485"/>
                <a:gd name="T43" fmla="*/ 2147483647 h 241"/>
                <a:gd name="T44" fmla="*/ 2147483647 w 485"/>
                <a:gd name="T45" fmla="*/ 2147483647 h 241"/>
                <a:gd name="T46" fmla="*/ 2147483647 w 485"/>
                <a:gd name="T47" fmla="*/ 0 h 241"/>
                <a:gd name="T48" fmla="*/ 2147483647 w 485"/>
                <a:gd name="T49" fmla="*/ 2147483647 h 241"/>
                <a:gd name="T50" fmla="*/ 2147483647 w 485"/>
                <a:gd name="T51" fmla="*/ 2147483647 h 241"/>
                <a:gd name="T52" fmla="*/ 2147483647 w 485"/>
                <a:gd name="T53" fmla="*/ 2147483647 h 241"/>
                <a:gd name="T54" fmla="*/ 0 w 485"/>
                <a:gd name="T55" fmla="*/ 2147483647 h 241"/>
                <a:gd name="T56" fmla="*/ 2147483647 w 485"/>
                <a:gd name="T57" fmla="*/ 2147483647 h 241"/>
                <a:gd name="T58" fmla="*/ 2147483647 w 485"/>
                <a:gd name="T59" fmla="*/ 2147483647 h 241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w 485"/>
                <a:gd name="T91" fmla="*/ 0 h 241"/>
                <a:gd name="T92" fmla="*/ 485 w 485"/>
                <a:gd name="T93" fmla="*/ 241 h 241"/>
              </a:gdLst>
              <a:ahLst/>
              <a:cxnLst>
                <a:cxn ang="T60">
                  <a:pos x="T0" y="T1"/>
                </a:cxn>
                <a:cxn ang="T61">
                  <a:pos x="T2" y="T3"/>
                </a:cxn>
                <a:cxn ang="T62">
                  <a:pos x="T4" y="T5"/>
                </a:cxn>
                <a:cxn ang="T63">
                  <a:pos x="T6" y="T7"/>
                </a:cxn>
                <a:cxn ang="T64">
                  <a:pos x="T8" y="T9"/>
                </a:cxn>
                <a:cxn ang="T65">
                  <a:pos x="T10" y="T11"/>
                </a:cxn>
                <a:cxn ang="T66">
                  <a:pos x="T12" y="T13"/>
                </a:cxn>
                <a:cxn ang="T67">
                  <a:pos x="T14" y="T15"/>
                </a:cxn>
                <a:cxn ang="T68">
                  <a:pos x="T16" y="T17"/>
                </a:cxn>
                <a:cxn ang="T69">
                  <a:pos x="T18" y="T19"/>
                </a:cxn>
                <a:cxn ang="T70">
                  <a:pos x="T20" y="T21"/>
                </a:cxn>
                <a:cxn ang="T71">
                  <a:pos x="T22" y="T23"/>
                </a:cxn>
                <a:cxn ang="T72">
                  <a:pos x="T24" y="T25"/>
                </a:cxn>
                <a:cxn ang="T73">
                  <a:pos x="T26" y="T27"/>
                </a:cxn>
                <a:cxn ang="T74">
                  <a:pos x="T28" y="T29"/>
                </a:cxn>
                <a:cxn ang="T75">
                  <a:pos x="T30" y="T31"/>
                </a:cxn>
                <a:cxn ang="T76">
                  <a:pos x="T32" y="T33"/>
                </a:cxn>
                <a:cxn ang="T77">
                  <a:pos x="T34" y="T35"/>
                </a:cxn>
                <a:cxn ang="T78">
                  <a:pos x="T36" y="T37"/>
                </a:cxn>
                <a:cxn ang="T79">
                  <a:pos x="T38" y="T39"/>
                </a:cxn>
                <a:cxn ang="T80">
                  <a:pos x="T40" y="T41"/>
                </a:cxn>
                <a:cxn ang="T81">
                  <a:pos x="T42" y="T43"/>
                </a:cxn>
                <a:cxn ang="T82">
                  <a:pos x="T44" y="T45"/>
                </a:cxn>
                <a:cxn ang="T83">
                  <a:pos x="T46" y="T47"/>
                </a:cxn>
                <a:cxn ang="T84">
                  <a:pos x="T48" y="T49"/>
                </a:cxn>
                <a:cxn ang="T85">
                  <a:pos x="T50" y="T51"/>
                </a:cxn>
                <a:cxn ang="T86">
                  <a:pos x="T52" y="T53"/>
                </a:cxn>
                <a:cxn ang="T87">
                  <a:pos x="T54" y="T55"/>
                </a:cxn>
                <a:cxn ang="T88">
                  <a:pos x="T56" y="T57"/>
                </a:cxn>
                <a:cxn ang="T89">
                  <a:pos x="T58" y="T59"/>
                </a:cxn>
              </a:cxnLst>
              <a:rect l="T90" t="T91" r="T92" b="T93"/>
              <a:pathLst>
                <a:path w="485" h="241">
                  <a:moveTo>
                    <a:pt x="175" y="158"/>
                  </a:moveTo>
                  <a:lnTo>
                    <a:pt x="181" y="173"/>
                  </a:lnTo>
                  <a:lnTo>
                    <a:pt x="197" y="177"/>
                  </a:lnTo>
                  <a:lnTo>
                    <a:pt x="221" y="241"/>
                  </a:lnTo>
                  <a:lnTo>
                    <a:pt x="264" y="154"/>
                  </a:lnTo>
                  <a:lnTo>
                    <a:pt x="286" y="157"/>
                  </a:lnTo>
                  <a:lnTo>
                    <a:pt x="314" y="143"/>
                  </a:lnTo>
                  <a:lnTo>
                    <a:pt x="361" y="143"/>
                  </a:lnTo>
                  <a:lnTo>
                    <a:pt x="377" y="123"/>
                  </a:lnTo>
                  <a:lnTo>
                    <a:pt x="468" y="126"/>
                  </a:lnTo>
                  <a:lnTo>
                    <a:pt x="485" y="113"/>
                  </a:lnTo>
                  <a:lnTo>
                    <a:pt x="456" y="79"/>
                  </a:lnTo>
                  <a:lnTo>
                    <a:pt x="401" y="80"/>
                  </a:lnTo>
                  <a:lnTo>
                    <a:pt x="356" y="74"/>
                  </a:lnTo>
                  <a:lnTo>
                    <a:pt x="300" y="74"/>
                  </a:lnTo>
                  <a:lnTo>
                    <a:pt x="280" y="102"/>
                  </a:lnTo>
                  <a:lnTo>
                    <a:pt x="252" y="86"/>
                  </a:lnTo>
                  <a:lnTo>
                    <a:pt x="222" y="89"/>
                  </a:lnTo>
                  <a:lnTo>
                    <a:pt x="212" y="59"/>
                  </a:lnTo>
                  <a:lnTo>
                    <a:pt x="148" y="55"/>
                  </a:lnTo>
                  <a:lnTo>
                    <a:pt x="141" y="45"/>
                  </a:lnTo>
                  <a:lnTo>
                    <a:pt x="169" y="14"/>
                  </a:lnTo>
                  <a:lnTo>
                    <a:pt x="193" y="12"/>
                  </a:lnTo>
                  <a:lnTo>
                    <a:pt x="169" y="0"/>
                  </a:lnTo>
                  <a:lnTo>
                    <a:pt x="133" y="9"/>
                  </a:lnTo>
                  <a:lnTo>
                    <a:pt x="74" y="68"/>
                  </a:lnTo>
                  <a:lnTo>
                    <a:pt x="44" y="74"/>
                  </a:lnTo>
                  <a:lnTo>
                    <a:pt x="0" y="104"/>
                  </a:lnTo>
                  <a:lnTo>
                    <a:pt x="175" y="158"/>
                  </a:lnTo>
                  <a:close/>
                </a:path>
              </a:pathLst>
            </a:custGeom>
            <a:solidFill>
              <a:srgbClr val="CC99FF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9217" name="Freeform 66">
              <a:hlinkClick r:id="rId10"/>
            </p:cNvPr>
            <p:cNvSpPr>
              <a:spLocks/>
            </p:cNvSpPr>
            <p:nvPr/>
          </p:nvSpPr>
          <p:spPr bwMode="auto">
            <a:xfrm>
              <a:off x="5718175" y="2298700"/>
              <a:ext cx="503238" cy="706438"/>
            </a:xfrm>
            <a:custGeom>
              <a:avLst/>
              <a:gdLst>
                <a:gd name="T0" fmla="*/ 2147483647 w 330"/>
                <a:gd name="T1" fmla="*/ 2147483647 h 434"/>
                <a:gd name="T2" fmla="*/ 2147483647 w 330"/>
                <a:gd name="T3" fmla="*/ 2147483647 h 434"/>
                <a:gd name="T4" fmla="*/ 2147483647 w 330"/>
                <a:gd name="T5" fmla="*/ 2147483647 h 434"/>
                <a:gd name="T6" fmla="*/ 2147483647 w 330"/>
                <a:gd name="T7" fmla="*/ 2147483647 h 434"/>
                <a:gd name="T8" fmla="*/ 2147483647 w 330"/>
                <a:gd name="T9" fmla="*/ 2147483647 h 434"/>
                <a:gd name="T10" fmla="*/ 2147483647 w 330"/>
                <a:gd name="T11" fmla="*/ 2147483647 h 434"/>
                <a:gd name="T12" fmla="*/ 2147483647 w 330"/>
                <a:gd name="T13" fmla="*/ 2147483647 h 434"/>
                <a:gd name="T14" fmla="*/ 2147483647 w 330"/>
                <a:gd name="T15" fmla="*/ 2147483647 h 434"/>
                <a:gd name="T16" fmla="*/ 2147483647 w 330"/>
                <a:gd name="T17" fmla="*/ 2147483647 h 434"/>
                <a:gd name="T18" fmla="*/ 2147483647 w 330"/>
                <a:gd name="T19" fmla="*/ 2147483647 h 434"/>
                <a:gd name="T20" fmla="*/ 2147483647 w 330"/>
                <a:gd name="T21" fmla="*/ 0 h 434"/>
                <a:gd name="T22" fmla="*/ 2147483647 w 330"/>
                <a:gd name="T23" fmla="*/ 2147483647 h 434"/>
                <a:gd name="T24" fmla="*/ 2147483647 w 330"/>
                <a:gd name="T25" fmla="*/ 2147483647 h 434"/>
                <a:gd name="T26" fmla="*/ 2147483647 w 330"/>
                <a:gd name="T27" fmla="*/ 2147483647 h 434"/>
                <a:gd name="T28" fmla="*/ 2147483647 w 330"/>
                <a:gd name="T29" fmla="*/ 2147483647 h 434"/>
                <a:gd name="T30" fmla="*/ 2147483647 w 330"/>
                <a:gd name="T31" fmla="*/ 2147483647 h 434"/>
                <a:gd name="T32" fmla="*/ 2147483647 w 330"/>
                <a:gd name="T33" fmla="*/ 2147483647 h 434"/>
                <a:gd name="T34" fmla="*/ 2147483647 w 330"/>
                <a:gd name="T35" fmla="*/ 2147483647 h 434"/>
                <a:gd name="T36" fmla="*/ 2147483647 w 330"/>
                <a:gd name="T37" fmla="*/ 2147483647 h 434"/>
                <a:gd name="T38" fmla="*/ 2147483647 w 330"/>
                <a:gd name="T39" fmla="*/ 2147483647 h 434"/>
                <a:gd name="T40" fmla="*/ 2147483647 w 330"/>
                <a:gd name="T41" fmla="*/ 2147483647 h 434"/>
                <a:gd name="T42" fmla="*/ 2147483647 w 330"/>
                <a:gd name="T43" fmla="*/ 2147483647 h 434"/>
                <a:gd name="T44" fmla="*/ 2147483647 w 330"/>
                <a:gd name="T45" fmla="*/ 2147483647 h 434"/>
                <a:gd name="T46" fmla="*/ 2147483647 w 330"/>
                <a:gd name="T47" fmla="*/ 2147483647 h 434"/>
                <a:gd name="T48" fmla="*/ 2147483647 w 330"/>
                <a:gd name="T49" fmla="*/ 2147483647 h 434"/>
                <a:gd name="T50" fmla="*/ 2147483647 w 330"/>
                <a:gd name="T51" fmla="*/ 2147483647 h 434"/>
                <a:gd name="T52" fmla="*/ 2147483647 w 330"/>
                <a:gd name="T53" fmla="*/ 2147483647 h 434"/>
                <a:gd name="T54" fmla="*/ 2147483647 w 330"/>
                <a:gd name="T55" fmla="*/ 2147483647 h 434"/>
                <a:gd name="T56" fmla="*/ 2147483647 w 330"/>
                <a:gd name="T57" fmla="*/ 2147483647 h 434"/>
                <a:gd name="T58" fmla="*/ 0 w 330"/>
                <a:gd name="T59" fmla="*/ 2147483647 h 434"/>
                <a:gd name="T60" fmla="*/ 2147483647 w 330"/>
                <a:gd name="T61" fmla="*/ 2147483647 h 434"/>
                <a:gd name="T62" fmla="*/ 2147483647 w 330"/>
                <a:gd name="T63" fmla="*/ 2147483647 h 434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w 330"/>
                <a:gd name="T97" fmla="*/ 0 h 434"/>
                <a:gd name="T98" fmla="*/ 330 w 330"/>
                <a:gd name="T99" fmla="*/ 434 h 434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T96" t="T97" r="T98" b="T99"/>
              <a:pathLst>
                <a:path w="330" h="434">
                  <a:moveTo>
                    <a:pt x="37" y="360"/>
                  </a:moveTo>
                  <a:lnTo>
                    <a:pt x="33" y="288"/>
                  </a:lnTo>
                  <a:lnTo>
                    <a:pt x="4" y="235"/>
                  </a:lnTo>
                  <a:lnTo>
                    <a:pt x="16" y="124"/>
                  </a:lnTo>
                  <a:lnTo>
                    <a:pt x="64" y="67"/>
                  </a:lnTo>
                  <a:lnTo>
                    <a:pt x="61" y="109"/>
                  </a:lnTo>
                  <a:lnTo>
                    <a:pt x="76" y="101"/>
                  </a:lnTo>
                  <a:lnTo>
                    <a:pt x="76" y="65"/>
                  </a:lnTo>
                  <a:lnTo>
                    <a:pt x="94" y="45"/>
                  </a:lnTo>
                  <a:lnTo>
                    <a:pt x="100" y="6"/>
                  </a:lnTo>
                  <a:lnTo>
                    <a:pt x="116" y="0"/>
                  </a:lnTo>
                  <a:lnTo>
                    <a:pt x="215" y="34"/>
                  </a:lnTo>
                  <a:lnTo>
                    <a:pt x="224" y="62"/>
                  </a:lnTo>
                  <a:lnTo>
                    <a:pt x="238" y="89"/>
                  </a:lnTo>
                  <a:lnTo>
                    <a:pt x="241" y="136"/>
                  </a:lnTo>
                  <a:lnTo>
                    <a:pt x="207" y="177"/>
                  </a:lnTo>
                  <a:lnTo>
                    <a:pt x="205" y="208"/>
                  </a:lnTo>
                  <a:lnTo>
                    <a:pt x="224" y="219"/>
                  </a:lnTo>
                  <a:lnTo>
                    <a:pt x="251" y="176"/>
                  </a:lnTo>
                  <a:lnTo>
                    <a:pt x="278" y="161"/>
                  </a:lnTo>
                  <a:lnTo>
                    <a:pt x="296" y="170"/>
                  </a:lnTo>
                  <a:lnTo>
                    <a:pt x="330" y="266"/>
                  </a:lnTo>
                  <a:lnTo>
                    <a:pt x="306" y="307"/>
                  </a:lnTo>
                  <a:lnTo>
                    <a:pt x="300" y="337"/>
                  </a:lnTo>
                  <a:lnTo>
                    <a:pt x="287" y="345"/>
                  </a:lnTo>
                  <a:lnTo>
                    <a:pt x="287" y="372"/>
                  </a:lnTo>
                  <a:lnTo>
                    <a:pt x="269" y="407"/>
                  </a:lnTo>
                  <a:lnTo>
                    <a:pt x="160" y="422"/>
                  </a:lnTo>
                  <a:lnTo>
                    <a:pt x="157" y="416"/>
                  </a:lnTo>
                  <a:lnTo>
                    <a:pt x="0" y="434"/>
                  </a:lnTo>
                  <a:lnTo>
                    <a:pt x="37" y="360"/>
                  </a:lnTo>
                  <a:close/>
                </a:path>
              </a:pathLst>
            </a:custGeom>
            <a:solidFill>
              <a:srgbClr val="CC99FF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9218" name="Freeform 67">
              <a:hlinkClick r:id="rId10"/>
            </p:cNvPr>
            <p:cNvSpPr>
              <a:spLocks/>
            </p:cNvSpPr>
            <p:nvPr/>
          </p:nvSpPr>
          <p:spPr bwMode="auto">
            <a:xfrm>
              <a:off x="5016500" y="2132013"/>
              <a:ext cx="687388" cy="749300"/>
            </a:xfrm>
            <a:custGeom>
              <a:avLst/>
              <a:gdLst>
                <a:gd name="T0" fmla="*/ 2147483647 w 451"/>
                <a:gd name="T1" fmla="*/ 2147483647 h 458"/>
                <a:gd name="T2" fmla="*/ 2147483647 w 451"/>
                <a:gd name="T3" fmla="*/ 2147483647 h 458"/>
                <a:gd name="T4" fmla="*/ 2147483647 w 451"/>
                <a:gd name="T5" fmla="*/ 2147483647 h 458"/>
                <a:gd name="T6" fmla="*/ 2147483647 w 451"/>
                <a:gd name="T7" fmla="*/ 2147483647 h 458"/>
                <a:gd name="T8" fmla="*/ 2147483647 w 451"/>
                <a:gd name="T9" fmla="*/ 2147483647 h 458"/>
                <a:gd name="T10" fmla="*/ 2147483647 w 451"/>
                <a:gd name="T11" fmla="*/ 2147483647 h 458"/>
                <a:gd name="T12" fmla="*/ 2147483647 w 451"/>
                <a:gd name="T13" fmla="*/ 2147483647 h 458"/>
                <a:gd name="T14" fmla="*/ 2147483647 w 451"/>
                <a:gd name="T15" fmla="*/ 2147483647 h 458"/>
                <a:gd name="T16" fmla="*/ 2147483647 w 451"/>
                <a:gd name="T17" fmla="*/ 2147483647 h 458"/>
                <a:gd name="T18" fmla="*/ 2147483647 w 451"/>
                <a:gd name="T19" fmla="*/ 2147483647 h 458"/>
                <a:gd name="T20" fmla="*/ 2147483647 w 451"/>
                <a:gd name="T21" fmla="*/ 2147483647 h 458"/>
                <a:gd name="T22" fmla="*/ 2147483647 w 451"/>
                <a:gd name="T23" fmla="*/ 2147483647 h 458"/>
                <a:gd name="T24" fmla="*/ 2147483647 w 451"/>
                <a:gd name="T25" fmla="*/ 2147483647 h 458"/>
                <a:gd name="T26" fmla="*/ 2147483647 w 451"/>
                <a:gd name="T27" fmla="*/ 2147483647 h 458"/>
                <a:gd name="T28" fmla="*/ 2147483647 w 451"/>
                <a:gd name="T29" fmla="*/ 2147483647 h 458"/>
                <a:gd name="T30" fmla="*/ 2147483647 w 451"/>
                <a:gd name="T31" fmla="*/ 2147483647 h 458"/>
                <a:gd name="T32" fmla="*/ 2147483647 w 451"/>
                <a:gd name="T33" fmla="*/ 2147483647 h 458"/>
                <a:gd name="T34" fmla="*/ 2147483647 w 451"/>
                <a:gd name="T35" fmla="*/ 2147483647 h 458"/>
                <a:gd name="T36" fmla="*/ 2147483647 w 451"/>
                <a:gd name="T37" fmla="*/ 2147483647 h 458"/>
                <a:gd name="T38" fmla="*/ 2147483647 w 451"/>
                <a:gd name="T39" fmla="*/ 2147483647 h 458"/>
                <a:gd name="T40" fmla="*/ 2147483647 w 451"/>
                <a:gd name="T41" fmla="*/ 2147483647 h 458"/>
                <a:gd name="T42" fmla="*/ 2147483647 w 451"/>
                <a:gd name="T43" fmla="*/ 2147483647 h 458"/>
                <a:gd name="T44" fmla="*/ 2147483647 w 451"/>
                <a:gd name="T45" fmla="*/ 2147483647 h 458"/>
                <a:gd name="T46" fmla="*/ 2147483647 w 451"/>
                <a:gd name="T47" fmla="*/ 2147483647 h 458"/>
                <a:gd name="T48" fmla="*/ 2147483647 w 451"/>
                <a:gd name="T49" fmla="*/ 2147483647 h 458"/>
                <a:gd name="T50" fmla="*/ 2147483647 w 451"/>
                <a:gd name="T51" fmla="*/ 2147483647 h 458"/>
                <a:gd name="T52" fmla="*/ 2147483647 w 451"/>
                <a:gd name="T53" fmla="*/ 2147483647 h 458"/>
                <a:gd name="T54" fmla="*/ 2147483647 w 451"/>
                <a:gd name="T55" fmla="*/ 2147483647 h 458"/>
                <a:gd name="T56" fmla="*/ 2147483647 w 451"/>
                <a:gd name="T57" fmla="*/ 2147483647 h 458"/>
                <a:gd name="T58" fmla="*/ 2147483647 w 451"/>
                <a:gd name="T59" fmla="*/ 0 h 458"/>
                <a:gd name="T60" fmla="*/ 2147483647 w 451"/>
                <a:gd name="T61" fmla="*/ 2147483647 h 458"/>
                <a:gd name="T62" fmla="*/ 2147483647 w 451"/>
                <a:gd name="T63" fmla="*/ 2147483647 h 458"/>
                <a:gd name="T64" fmla="*/ 2147483647 w 451"/>
                <a:gd name="T65" fmla="*/ 2147483647 h 458"/>
                <a:gd name="T66" fmla="*/ 2147483647 w 451"/>
                <a:gd name="T67" fmla="*/ 2147483647 h 458"/>
                <a:gd name="T68" fmla="*/ 2147483647 w 451"/>
                <a:gd name="T69" fmla="*/ 2147483647 h 458"/>
                <a:gd name="T70" fmla="*/ 0 w 451"/>
                <a:gd name="T71" fmla="*/ 2147483647 h 458"/>
                <a:gd name="T72" fmla="*/ 2147483647 w 451"/>
                <a:gd name="T73" fmla="*/ 2147483647 h 458"/>
                <a:gd name="T74" fmla="*/ 2147483647 w 451"/>
                <a:gd name="T75" fmla="*/ 2147483647 h 458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451"/>
                <a:gd name="T115" fmla="*/ 0 h 458"/>
                <a:gd name="T116" fmla="*/ 451 w 451"/>
                <a:gd name="T117" fmla="*/ 458 h 458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451" h="458">
                  <a:moveTo>
                    <a:pt x="12" y="175"/>
                  </a:moveTo>
                  <a:lnTo>
                    <a:pt x="10" y="230"/>
                  </a:lnTo>
                  <a:lnTo>
                    <a:pt x="65" y="264"/>
                  </a:lnTo>
                  <a:lnTo>
                    <a:pt x="86" y="287"/>
                  </a:lnTo>
                  <a:lnTo>
                    <a:pt x="131" y="320"/>
                  </a:lnTo>
                  <a:lnTo>
                    <a:pt x="136" y="358"/>
                  </a:lnTo>
                  <a:lnTo>
                    <a:pt x="145" y="410"/>
                  </a:lnTo>
                  <a:lnTo>
                    <a:pt x="187" y="458"/>
                  </a:lnTo>
                  <a:lnTo>
                    <a:pt x="411" y="445"/>
                  </a:lnTo>
                  <a:lnTo>
                    <a:pt x="399" y="374"/>
                  </a:lnTo>
                  <a:lnTo>
                    <a:pt x="419" y="267"/>
                  </a:lnTo>
                  <a:lnTo>
                    <a:pt x="419" y="237"/>
                  </a:lnTo>
                  <a:lnTo>
                    <a:pt x="451" y="153"/>
                  </a:lnTo>
                  <a:lnTo>
                    <a:pt x="443" y="150"/>
                  </a:lnTo>
                  <a:lnTo>
                    <a:pt x="422" y="199"/>
                  </a:lnTo>
                  <a:lnTo>
                    <a:pt x="404" y="202"/>
                  </a:lnTo>
                  <a:lnTo>
                    <a:pt x="396" y="222"/>
                  </a:lnTo>
                  <a:lnTo>
                    <a:pt x="377" y="236"/>
                  </a:lnTo>
                  <a:lnTo>
                    <a:pt x="391" y="191"/>
                  </a:lnTo>
                  <a:lnTo>
                    <a:pt x="404" y="174"/>
                  </a:lnTo>
                  <a:lnTo>
                    <a:pt x="380" y="110"/>
                  </a:lnTo>
                  <a:lnTo>
                    <a:pt x="364" y="106"/>
                  </a:lnTo>
                  <a:lnTo>
                    <a:pt x="358" y="91"/>
                  </a:lnTo>
                  <a:lnTo>
                    <a:pt x="183" y="37"/>
                  </a:lnTo>
                  <a:lnTo>
                    <a:pt x="160" y="26"/>
                  </a:lnTo>
                  <a:lnTo>
                    <a:pt x="148" y="37"/>
                  </a:lnTo>
                  <a:lnTo>
                    <a:pt x="144" y="34"/>
                  </a:lnTo>
                  <a:lnTo>
                    <a:pt x="150" y="15"/>
                  </a:lnTo>
                  <a:lnTo>
                    <a:pt x="154" y="3"/>
                  </a:lnTo>
                  <a:lnTo>
                    <a:pt x="148" y="0"/>
                  </a:lnTo>
                  <a:lnTo>
                    <a:pt x="77" y="29"/>
                  </a:lnTo>
                  <a:lnTo>
                    <a:pt x="70" y="31"/>
                  </a:lnTo>
                  <a:lnTo>
                    <a:pt x="55" y="23"/>
                  </a:lnTo>
                  <a:lnTo>
                    <a:pt x="41" y="32"/>
                  </a:lnTo>
                  <a:lnTo>
                    <a:pt x="44" y="85"/>
                  </a:lnTo>
                  <a:lnTo>
                    <a:pt x="0" y="138"/>
                  </a:lnTo>
                  <a:lnTo>
                    <a:pt x="12" y="175"/>
                  </a:lnTo>
                  <a:close/>
                </a:path>
              </a:pathLst>
            </a:custGeom>
            <a:solidFill>
              <a:srgbClr val="CC99FF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9219" name="Freeform 68">
              <a:hlinkClick r:id="rId12"/>
            </p:cNvPr>
            <p:cNvSpPr>
              <a:spLocks/>
            </p:cNvSpPr>
            <p:nvPr/>
          </p:nvSpPr>
          <p:spPr bwMode="auto">
            <a:xfrm>
              <a:off x="5214938" y="2860675"/>
              <a:ext cx="511175" cy="954088"/>
            </a:xfrm>
            <a:custGeom>
              <a:avLst/>
              <a:gdLst>
                <a:gd name="T0" fmla="*/ 2147483647 w 335"/>
                <a:gd name="T1" fmla="*/ 2147483647 h 584"/>
                <a:gd name="T2" fmla="*/ 2147483647 w 335"/>
                <a:gd name="T3" fmla="*/ 2147483647 h 584"/>
                <a:gd name="T4" fmla="*/ 2147483647 w 335"/>
                <a:gd name="T5" fmla="*/ 2147483647 h 584"/>
                <a:gd name="T6" fmla="*/ 2147483647 w 335"/>
                <a:gd name="T7" fmla="*/ 2147483647 h 584"/>
                <a:gd name="T8" fmla="*/ 2147483647 w 335"/>
                <a:gd name="T9" fmla="*/ 2147483647 h 584"/>
                <a:gd name="T10" fmla="*/ 2147483647 w 335"/>
                <a:gd name="T11" fmla="*/ 2147483647 h 584"/>
                <a:gd name="T12" fmla="*/ 2147483647 w 335"/>
                <a:gd name="T13" fmla="*/ 0 h 584"/>
                <a:gd name="T14" fmla="*/ 2147483647 w 335"/>
                <a:gd name="T15" fmla="*/ 2147483647 h 584"/>
                <a:gd name="T16" fmla="*/ 2147483647 w 335"/>
                <a:gd name="T17" fmla="*/ 2147483647 h 584"/>
                <a:gd name="T18" fmla="*/ 2147483647 w 335"/>
                <a:gd name="T19" fmla="*/ 2147483647 h 584"/>
                <a:gd name="T20" fmla="*/ 2147483647 w 335"/>
                <a:gd name="T21" fmla="*/ 2147483647 h 584"/>
                <a:gd name="T22" fmla="*/ 2147483647 w 335"/>
                <a:gd name="T23" fmla="*/ 2147483647 h 584"/>
                <a:gd name="T24" fmla="*/ 2147483647 w 335"/>
                <a:gd name="T25" fmla="*/ 2147483647 h 584"/>
                <a:gd name="T26" fmla="*/ 2147483647 w 335"/>
                <a:gd name="T27" fmla="*/ 2147483647 h 584"/>
                <a:gd name="T28" fmla="*/ 2147483647 w 335"/>
                <a:gd name="T29" fmla="*/ 2147483647 h 584"/>
                <a:gd name="T30" fmla="*/ 2147483647 w 335"/>
                <a:gd name="T31" fmla="*/ 2147483647 h 584"/>
                <a:gd name="T32" fmla="*/ 2147483647 w 335"/>
                <a:gd name="T33" fmla="*/ 2147483647 h 584"/>
                <a:gd name="T34" fmla="*/ 2147483647 w 335"/>
                <a:gd name="T35" fmla="*/ 2147483647 h 584"/>
                <a:gd name="T36" fmla="*/ 2147483647 w 335"/>
                <a:gd name="T37" fmla="*/ 2147483647 h 584"/>
                <a:gd name="T38" fmla="*/ 2147483647 w 335"/>
                <a:gd name="T39" fmla="*/ 2147483647 h 584"/>
                <a:gd name="T40" fmla="*/ 2147483647 w 335"/>
                <a:gd name="T41" fmla="*/ 2147483647 h 584"/>
                <a:gd name="T42" fmla="*/ 2147483647 w 335"/>
                <a:gd name="T43" fmla="*/ 2147483647 h 584"/>
                <a:gd name="T44" fmla="*/ 2147483647 w 335"/>
                <a:gd name="T45" fmla="*/ 2147483647 h 584"/>
                <a:gd name="T46" fmla="*/ 2147483647 w 335"/>
                <a:gd name="T47" fmla="*/ 2147483647 h 584"/>
                <a:gd name="T48" fmla="*/ 2147483647 w 335"/>
                <a:gd name="T49" fmla="*/ 2147483647 h 584"/>
                <a:gd name="T50" fmla="*/ 2147483647 w 335"/>
                <a:gd name="T51" fmla="*/ 2147483647 h 584"/>
                <a:gd name="T52" fmla="*/ 2147483647 w 335"/>
                <a:gd name="T53" fmla="*/ 2147483647 h 584"/>
                <a:gd name="T54" fmla="*/ 2147483647 w 335"/>
                <a:gd name="T55" fmla="*/ 2147483647 h 584"/>
                <a:gd name="T56" fmla="*/ 2147483647 w 335"/>
                <a:gd name="T57" fmla="*/ 2147483647 h 584"/>
                <a:gd name="T58" fmla="*/ 2147483647 w 335"/>
                <a:gd name="T59" fmla="*/ 2147483647 h 584"/>
                <a:gd name="T60" fmla="*/ 2147483647 w 335"/>
                <a:gd name="T61" fmla="*/ 2147483647 h 584"/>
                <a:gd name="T62" fmla="*/ 2147483647 w 335"/>
                <a:gd name="T63" fmla="*/ 2147483647 h 584"/>
                <a:gd name="T64" fmla="*/ 0 w 335"/>
                <a:gd name="T65" fmla="*/ 2147483647 h 584"/>
                <a:gd name="T66" fmla="*/ 2147483647 w 335"/>
                <a:gd name="T67" fmla="*/ 2147483647 h 584"/>
                <a:gd name="T68" fmla="*/ 2147483647 w 335"/>
                <a:gd name="T69" fmla="*/ 2147483647 h 584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335"/>
                <a:gd name="T106" fmla="*/ 0 h 584"/>
                <a:gd name="T107" fmla="*/ 335 w 335"/>
                <a:gd name="T108" fmla="*/ 584 h 584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335" h="584">
                  <a:moveTo>
                    <a:pt x="5" y="239"/>
                  </a:moveTo>
                  <a:lnTo>
                    <a:pt x="40" y="165"/>
                  </a:lnTo>
                  <a:lnTo>
                    <a:pt x="29" y="137"/>
                  </a:lnTo>
                  <a:lnTo>
                    <a:pt x="87" y="93"/>
                  </a:lnTo>
                  <a:lnTo>
                    <a:pt x="98" y="61"/>
                  </a:lnTo>
                  <a:lnTo>
                    <a:pt x="56" y="13"/>
                  </a:lnTo>
                  <a:lnTo>
                    <a:pt x="280" y="0"/>
                  </a:lnTo>
                  <a:lnTo>
                    <a:pt x="286" y="34"/>
                  </a:lnTo>
                  <a:lnTo>
                    <a:pt x="309" y="78"/>
                  </a:lnTo>
                  <a:lnTo>
                    <a:pt x="328" y="301"/>
                  </a:lnTo>
                  <a:lnTo>
                    <a:pt x="323" y="347"/>
                  </a:lnTo>
                  <a:lnTo>
                    <a:pt x="335" y="373"/>
                  </a:lnTo>
                  <a:lnTo>
                    <a:pt x="322" y="423"/>
                  </a:lnTo>
                  <a:lnTo>
                    <a:pt x="304" y="445"/>
                  </a:lnTo>
                  <a:lnTo>
                    <a:pt x="295" y="482"/>
                  </a:lnTo>
                  <a:lnTo>
                    <a:pt x="306" y="494"/>
                  </a:lnTo>
                  <a:lnTo>
                    <a:pt x="297" y="515"/>
                  </a:lnTo>
                  <a:lnTo>
                    <a:pt x="301" y="522"/>
                  </a:lnTo>
                  <a:lnTo>
                    <a:pt x="274" y="532"/>
                  </a:lnTo>
                  <a:lnTo>
                    <a:pt x="268" y="569"/>
                  </a:lnTo>
                  <a:lnTo>
                    <a:pt x="230" y="557"/>
                  </a:lnTo>
                  <a:lnTo>
                    <a:pt x="210" y="584"/>
                  </a:lnTo>
                  <a:lnTo>
                    <a:pt x="199" y="581"/>
                  </a:lnTo>
                  <a:lnTo>
                    <a:pt x="185" y="557"/>
                  </a:lnTo>
                  <a:lnTo>
                    <a:pt x="164" y="500"/>
                  </a:lnTo>
                  <a:lnTo>
                    <a:pt x="114" y="470"/>
                  </a:lnTo>
                  <a:lnTo>
                    <a:pt x="104" y="441"/>
                  </a:lnTo>
                  <a:lnTo>
                    <a:pt x="120" y="395"/>
                  </a:lnTo>
                  <a:lnTo>
                    <a:pt x="107" y="386"/>
                  </a:lnTo>
                  <a:lnTo>
                    <a:pt x="74" y="386"/>
                  </a:lnTo>
                  <a:lnTo>
                    <a:pt x="66" y="358"/>
                  </a:lnTo>
                  <a:lnTo>
                    <a:pt x="13" y="302"/>
                  </a:lnTo>
                  <a:lnTo>
                    <a:pt x="0" y="257"/>
                  </a:lnTo>
                  <a:lnTo>
                    <a:pt x="5" y="239"/>
                  </a:lnTo>
                  <a:close/>
                </a:path>
              </a:pathLst>
            </a:custGeom>
            <a:solidFill>
              <a:srgbClr val="CC99FF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9220" name="Freeform 69">
              <a:hlinkClick r:id="rId11"/>
            </p:cNvPr>
            <p:cNvSpPr>
              <a:spLocks/>
            </p:cNvSpPr>
            <p:nvPr/>
          </p:nvSpPr>
          <p:spPr bwMode="auto">
            <a:xfrm>
              <a:off x="5661025" y="2947988"/>
              <a:ext cx="403225" cy="715962"/>
            </a:xfrm>
            <a:custGeom>
              <a:avLst/>
              <a:gdLst>
                <a:gd name="T0" fmla="*/ 2147483647 w 265"/>
                <a:gd name="T1" fmla="*/ 2147483647 h 440"/>
                <a:gd name="T2" fmla="*/ 2147483647 w 265"/>
                <a:gd name="T3" fmla="*/ 2147483647 h 440"/>
                <a:gd name="T4" fmla="*/ 2147483647 w 265"/>
                <a:gd name="T5" fmla="*/ 2147483647 h 440"/>
                <a:gd name="T6" fmla="*/ 2147483647 w 265"/>
                <a:gd name="T7" fmla="*/ 2147483647 h 440"/>
                <a:gd name="T8" fmla="*/ 2147483647 w 265"/>
                <a:gd name="T9" fmla="*/ 2147483647 h 440"/>
                <a:gd name="T10" fmla="*/ 2147483647 w 265"/>
                <a:gd name="T11" fmla="*/ 2147483647 h 440"/>
                <a:gd name="T12" fmla="*/ 2147483647 w 265"/>
                <a:gd name="T13" fmla="*/ 2147483647 h 440"/>
                <a:gd name="T14" fmla="*/ 2147483647 w 265"/>
                <a:gd name="T15" fmla="*/ 2147483647 h 440"/>
                <a:gd name="T16" fmla="*/ 2147483647 w 265"/>
                <a:gd name="T17" fmla="*/ 2147483647 h 440"/>
                <a:gd name="T18" fmla="*/ 2147483647 w 265"/>
                <a:gd name="T19" fmla="*/ 2147483647 h 440"/>
                <a:gd name="T20" fmla="*/ 2147483647 w 265"/>
                <a:gd name="T21" fmla="*/ 2147483647 h 440"/>
                <a:gd name="T22" fmla="*/ 2147483647 w 265"/>
                <a:gd name="T23" fmla="*/ 2147483647 h 440"/>
                <a:gd name="T24" fmla="*/ 2147483647 w 265"/>
                <a:gd name="T25" fmla="*/ 0 h 440"/>
                <a:gd name="T26" fmla="*/ 2147483647 w 265"/>
                <a:gd name="T27" fmla="*/ 2147483647 h 440"/>
                <a:gd name="T28" fmla="*/ 2147483647 w 265"/>
                <a:gd name="T29" fmla="*/ 2147483647 h 440"/>
                <a:gd name="T30" fmla="*/ 2147483647 w 265"/>
                <a:gd name="T31" fmla="*/ 2147483647 h 440"/>
                <a:gd name="T32" fmla="*/ 2147483647 w 265"/>
                <a:gd name="T33" fmla="*/ 2147483647 h 440"/>
                <a:gd name="T34" fmla="*/ 2147483647 w 265"/>
                <a:gd name="T35" fmla="*/ 2147483647 h 440"/>
                <a:gd name="T36" fmla="*/ 2147483647 w 265"/>
                <a:gd name="T37" fmla="*/ 2147483647 h 440"/>
                <a:gd name="T38" fmla="*/ 2147483647 w 265"/>
                <a:gd name="T39" fmla="*/ 2147483647 h 440"/>
                <a:gd name="T40" fmla="*/ 2147483647 w 265"/>
                <a:gd name="T41" fmla="*/ 2147483647 h 440"/>
                <a:gd name="T42" fmla="*/ 0 w 265"/>
                <a:gd name="T43" fmla="*/ 2147483647 h 440"/>
                <a:gd name="T44" fmla="*/ 2147483647 w 265"/>
                <a:gd name="T45" fmla="*/ 2147483647 h 440"/>
                <a:gd name="T46" fmla="*/ 2147483647 w 265"/>
                <a:gd name="T47" fmla="*/ 2147483647 h 440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w 265"/>
                <a:gd name="T73" fmla="*/ 0 h 440"/>
                <a:gd name="T74" fmla="*/ 265 w 265"/>
                <a:gd name="T75" fmla="*/ 440 h 440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T72" t="T73" r="T74" b="T75"/>
              <a:pathLst>
                <a:path w="265" h="440">
                  <a:moveTo>
                    <a:pt x="9" y="440"/>
                  </a:moveTo>
                  <a:lnTo>
                    <a:pt x="17" y="426"/>
                  </a:lnTo>
                  <a:lnTo>
                    <a:pt x="67" y="423"/>
                  </a:lnTo>
                  <a:lnTo>
                    <a:pt x="109" y="410"/>
                  </a:lnTo>
                  <a:lnTo>
                    <a:pt x="150" y="385"/>
                  </a:lnTo>
                  <a:lnTo>
                    <a:pt x="184" y="383"/>
                  </a:lnTo>
                  <a:lnTo>
                    <a:pt x="223" y="320"/>
                  </a:lnTo>
                  <a:lnTo>
                    <a:pt x="235" y="325"/>
                  </a:lnTo>
                  <a:lnTo>
                    <a:pt x="265" y="302"/>
                  </a:lnTo>
                  <a:lnTo>
                    <a:pt x="257" y="286"/>
                  </a:lnTo>
                  <a:lnTo>
                    <a:pt x="260" y="277"/>
                  </a:lnTo>
                  <a:lnTo>
                    <a:pt x="230" y="6"/>
                  </a:lnTo>
                  <a:lnTo>
                    <a:pt x="227" y="0"/>
                  </a:lnTo>
                  <a:lnTo>
                    <a:pt x="70" y="18"/>
                  </a:lnTo>
                  <a:lnTo>
                    <a:pt x="40" y="33"/>
                  </a:lnTo>
                  <a:lnTo>
                    <a:pt x="14" y="25"/>
                  </a:lnTo>
                  <a:lnTo>
                    <a:pt x="33" y="248"/>
                  </a:lnTo>
                  <a:lnTo>
                    <a:pt x="28" y="294"/>
                  </a:lnTo>
                  <a:lnTo>
                    <a:pt x="40" y="320"/>
                  </a:lnTo>
                  <a:lnTo>
                    <a:pt x="27" y="370"/>
                  </a:lnTo>
                  <a:lnTo>
                    <a:pt x="9" y="392"/>
                  </a:lnTo>
                  <a:lnTo>
                    <a:pt x="0" y="429"/>
                  </a:lnTo>
                  <a:lnTo>
                    <a:pt x="9" y="440"/>
                  </a:lnTo>
                  <a:close/>
                </a:path>
              </a:pathLst>
            </a:custGeom>
            <a:solidFill>
              <a:srgbClr val="CC99FF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9221" name="Freeform 70">
              <a:hlinkClick r:id="rId11"/>
            </p:cNvPr>
            <p:cNvSpPr>
              <a:spLocks/>
            </p:cNvSpPr>
            <p:nvPr/>
          </p:nvSpPr>
          <p:spPr bwMode="auto">
            <a:xfrm>
              <a:off x="5511800" y="3400427"/>
              <a:ext cx="942975" cy="501650"/>
            </a:xfrm>
            <a:custGeom>
              <a:avLst/>
              <a:gdLst>
                <a:gd name="T0" fmla="*/ 2147483647 w 618"/>
                <a:gd name="T1" fmla="*/ 2147483647 h 307"/>
                <a:gd name="T2" fmla="*/ 2147483647 w 618"/>
                <a:gd name="T3" fmla="*/ 2147483647 h 307"/>
                <a:gd name="T4" fmla="*/ 2147483647 w 618"/>
                <a:gd name="T5" fmla="*/ 2147483647 h 307"/>
                <a:gd name="T6" fmla="*/ 2147483647 w 618"/>
                <a:gd name="T7" fmla="*/ 2147483647 h 307"/>
                <a:gd name="T8" fmla="*/ 2147483647 w 618"/>
                <a:gd name="T9" fmla="*/ 2147483647 h 307"/>
                <a:gd name="T10" fmla="*/ 2147483647 w 618"/>
                <a:gd name="T11" fmla="*/ 2147483647 h 307"/>
                <a:gd name="T12" fmla="*/ 2147483647 w 618"/>
                <a:gd name="T13" fmla="*/ 2147483647 h 307"/>
                <a:gd name="T14" fmla="*/ 2147483647 w 618"/>
                <a:gd name="T15" fmla="*/ 2147483647 h 307"/>
                <a:gd name="T16" fmla="*/ 2147483647 w 618"/>
                <a:gd name="T17" fmla="*/ 2147483647 h 307"/>
                <a:gd name="T18" fmla="*/ 2147483647 w 618"/>
                <a:gd name="T19" fmla="*/ 2147483647 h 307"/>
                <a:gd name="T20" fmla="*/ 2147483647 w 618"/>
                <a:gd name="T21" fmla="*/ 2147483647 h 307"/>
                <a:gd name="T22" fmla="*/ 2147483647 w 618"/>
                <a:gd name="T23" fmla="*/ 2147483647 h 307"/>
                <a:gd name="T24" fmla="*/ 2147483647 w 618"/>
                <a:gd name="T25" fmla="*/ 2147483647 h 307"/>
                <a:gd name="T26" fmla="*/ 2147483647 w 618"/>
                <a:gd name="T27" fmla="*/ 2147483647 h 307"/>
                <a:gd name="T28" fmla="*/ 2147483647 w 618"/>
                <a:gd name="T29" fmla="*/ 2147483647 h 307"/>
                <a:gd name="T30" fmla="*/ 2147483647 w 618"/>
                <a:gd name="T31" fmla="*/ 2147483647 h 307"/>
                <a:gd name="T32" fmla="*/ 2147483647 w 618"/>
                <a:gd name="T33" fmla="*/ 2147483647 h 307"/>
                <a:gd name="T34" fmla="*/ 2147483647 w 618"/>
                <a:gd name="T35" fmla="*/ 2147483647 h 307"/>
                <a:gd name="T36" fmla="*/ 2147483647 w 618"/>
                <a:gd name="T37" fmla="*/ 2147483647 h 307"/>
                <a:gd name="T38" fmla="*/ 2147483647 w 618"/>
                <a:gd name="T39" fmla="*/ 2147483647 h 307"/>
                <a:gd name="T40" fmla="*/ 2147483647 w 618"/>
                <a:gd name="T41" fmla="*/ 0 h 307"/>
                <a:gd name="T42" fmla="*/ 2147483647 w 618"/>
                <a:gd name="T43" fmla="*/ 2147483647 h 307"/>
                <a:gd name="T44" fmla="*/ 2147483647 w 618"/>
                <a:gd name="T45" fmla="*/ 2147483647 h 307"/>
                <a:gd name="T46" fmla="*/ 2147483647 w 618"/>
                <a:gd name="T47" fmla="*/ 2147483647 h 307"/>
                <a:gd name="T48" fmla="*/ 2147483647 w 618"/>
                <a:gd name="T49" fmla="*/ 2147483647 h 307"/>
                <a:gd name="T50" fmla="*/ 2147483647 w 618"/>
                <a:gd name="T51" fmla="*/ 2147483647 h 307"/>
                <a:gd name="T52" fmla="*/ 2147483647 w 618"/>
                <a:gd name="T53" fmla="*/ 2147483647 h 307"/>
                <a:gd name="T54" fmla="*/ 2147483647 w 618"/>
                <a:gd name="T55" fmla="*/ 2147483647 h 307"/>
                <a:gd name="T56" fmla="*/ 2147483647 w 618"/>
                <a:gd name="T57" fmla="*/ 2147483647 h 307"/>
                <a:gd name="T58" fmla="*/ 2147483647 w 618"/>
                <a:gd name="T59" fmla="*/ 2147483647 h 307"/>
                <a:gd name="T60" fmla="*/ 2147483647 w 618"/>
                <a:gd name="T61" fmla="*/ 2147483647 h 307"/>
                <a:gd name="T62" fmla="*/ 2147483647 w 618"/>
                <a:gd name="T63" fmla="*/ 2147483647 h 307"/>
                <a:gd name="T64" fmla="*/ 2147483647 w 618"/>
                <a:gd name="T65" fmla="*/ 2147483647 h 307"/>
                <a:gd name="T66" fmla="*/ 2147483647 w 618"/>
                <a:gd name="T67" fmla="*/ 2147483647 h 307"/>
                <a:gd name="T68" fmla="*/ 2147483647 w 618"/>
                <a:gd name="T69" fmla="*/ 2147483647 h 307"/>
                <a:gd name="T70" fmla="*/ 0 w 618"/>
                <a:gd name="T71" fmla="*/ 2147483647 h 307"/>
                <a:gd name="T72" fmla="*/ 2147483647 w 618"/>
                <a:gd name="T73" fmla="*/ 2147483647 h 307"/>
                <a:gd name="T74" fmla="*/ 2147483647 w 618"/>
                <a:gd name="T75" fmla="*/ 2147483647 h 307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618"/>
                <a:gd name="T115" fmla="*/ 0 h 307"/>
                <a:gd name="T116" fmla="*/ 618 w 618"/>
                <a:gd name="T117" fmla="*/ 307 h 307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618" h="307">
                  <a:moveTo>
                    <a:pt x="3" y="290"/>
                  </a:moveTo>
                  <a:lnTo>
                    <a:pt x="18" y="289"/>
                  </a:lnTo>
                  <a:lnTo>
                    <a:pt x="22" y="256"/>
                  </a:lnTo>
                  <a:lnTo>
                    <a:pt x="13" y="255"/>
                  </a:lnTo>
                  <a:lnTo>
                    <a:pt x="33" y="228"/>
                  </a:lnTo>
                  <a:lnTo>
                    <a:pt x="71" y="240"/>
                  </a:lnTo>
                  <a:lnTo>
                    <a:pt x="77" y="203"/>
                  </a:lnTo>
                  <a:lnTo>
                    <a:pt x="104" y="193"/>
                  </a:lnTo>
                  <a:lnTo>
                    <a:pt x="100" y="186"/>
                  </a:lnTo>
                  <a:lnTo>
                    <a:pt x="115" y="150"/>
                  </a:lnTo>
                  <a:lnTo>
                    <a:pt x="165" y="147"/>
                  </a:lnTo>
                  <a:lnTo>
                    <a:pt x="207" y="134"/>
                  </a:lnTo>
                  <a:lnTo>
                    <a:pt x="233" y="116"/>
                  </a:lnTo>
                  <a:lnTo>
                    <a:pt x="248" y="109"/>
                  </a:lnTo>
                  <a:lnTo>
                    <a:pt x="282" y="107"/>
                  </a:lnTo>
                  <a:lnTo>
                    <a:pt x="321" y="44"/>
                  </a:lnTo>
                  <a:lnTo>
                    <a:pt x="333" y="49"/>
                  </a:lnTo>
                  <a:lnTo>
                    <a:pt x="363" y="26"/>
                  </a:lnTo>
                  <a:lnTo>
                    <a:pt x="355" y="10"/>
                  </a:lnTo>
                  <a:lnTo>
                    <a:pt x="358" y="1"/>
                  </a:lnTo>
                  <a:lnTo>
                    <a:pt x="385" y="0"/>
                  </a:lnTo>
                  <a:lnTo>
                    <a:pt x="403" y="6"/>
                  </a:lnTo>
                  <a:lnTo>
                    <a:pt x="456" y="37"/>
                  </a:lnTo>
                  <a:lnTo>
                    <a:pt x="495" y="35"/>
                  </a:lnTo>
                  <a:lnTo>
                    <a:pt x="513" y="23"/>
                  </a:lnTo>
                  <a:lnTo>
                    <a:pt x="556" y="50"/>
                  </a:lnTo>
                  <a:lnTo>
                    <a:pt x="569" y="100"/>
                  </a:lnTo>
                  <a:lnTo>
                    <a:pt x="618" y="136"/>
                  </a:lnTo>
                  <a:lnTo>
                    <a:pt x="594" y="164"/>
                  </a:lnTo>
                  <a:lnTo>
                    <a:pt x="553" y="203"/>
                  </a:lnTo>
                  <a:lnTo>
                    <a:pt x="551" y="212"/>
                  </a:lnTo>
                  <a:lnTo>
                    <a:pt x="490" y="251"/>
                  </a:lnTo>
                  <a:lnTo>
                    <a:pt x="149" y="283"/>
                  </a:lnTo>
                  <a:lnTo>
                    <a:pt x="112" y="280"/>
                  </a:lnTo>
                  <a:lnTo>
                    <a:pt x="113" y="298"/>
                  </a:lnTo>
                  <a:lnTo>
                    <a:pt x="0" y="307"/>
                  </a:lnTo>
                  <a:lnTo>
                    <a:pt x="3" y="290"/>
                  </a:lnTo>
                  <a:close/>
                </a:path>
              </a:pathLst>
            </a:custGeom>
            <a:solidFill>
              <a:srgbClr val="FAA4E3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9222" name="Freeform 71">
              <a:hlinkClick r:id="rId11"/>
            </p:cNvPr>
            <p:cNvSpPr>
              <a:spLocks/>
            </p:cNvSpPr>
            <p:nvPr/>
          </p:nvSpPr>
          <p:spPr bwMode="auto">
            <a:xfrm>
              <a:off x="5410200" y="3770313"/>
              <a:ext cx="1109663" cy="390525"/>
            </a:xfrm>
            <a:custGeom>
              <a:avLst/>
              <a:gdLst>
                <a:gd name="T0" fmla="*/ 2147483647 w 728"/>
                <a:gd name="T1" fmla="*/ 2147483647 h 239"/>
                <a:gd name="T2" fmla="*/ 2147483647 w 728"/>
                <a:gd name="T3" fmla="*/ 2147483647 h 239"/>
                <a:gd name="T4" fmla="*/ 2147483647 w 728"/>
                <a:gd name="T5" fmla="*/ 2147483647 h 239"/>
                <a:gd name="T6" fmla="*/ 2147483647 w 728"/>
                <a:gd name="T7" fmla="*/ 2147483647 h 239"/>
                <a:gd name="T8" fmla="*/ 2147483647 w 728"/>
                <a:gd name="T9" fmla="*/ 2147483647 h 239"/>
                <a:gd name="T10" fmla="*/ 2147483647 w 728"/>
                <a:gd name="T11" fmla="*/ 2147483647 h 239"/>
                <a:gd name="T12" fmla="*/ 2147483647 w 728"/>
                <a:gd name="T13" fmla="*/ 2147483647 h 239"/>
                <a:gd name="T14" fmla="*/ 2147483647 w 728"/>
                <a:gd name="T15" fmla="*/ 2147483647 h 239"/>
                <a:gd name="T16" fmla="*/ 2147483647 w 728"/>
                <a:gd name="T17" fmla="*/ 2147483647 h 239"/>
                <a:gd name="T18" fmla="*/ 2147483647 w 728"/>
                <a:gd name="T19" fmla="*/ 2147483647 h 239"/>
                <a:gd name="T20" fmla="*/ 2147483647 w 728"/>
                <a:gd name="T21" fmla="*/ 2147483647 h 239"/>
                <a:gd name="T22" fmla="*/ 2147483647 w 728"/>
                <a:gd name="T23" fmla="*/ 2147483647 h 239"/>
                <a:gd name="T24" fmla="*/ 2147483647 w 728"/>
                <a:gd name="T25" fmla="*/ 0 h 239"/>
                <a:gd name="T26" fmla="*/ 2147483647 w 728"/>
                <a:gd name="T27" fmla="*/ 2147483647 h 239"/>
                <a:gd name="T28" fmla="*/ 2147483647 w 728"/>
                <a:gd name="T29" fmla="*/ 2147483647 h 239"/>
                <a:gd name="T30" fmla="*/ 2147483647 w 728"/>
                <a:gd name="T31" fmla="*/ 2147483647 h 239"/>
                <a:gd name="T32" fmla="*/ 2147483647 w 728"/>
                <a:gd name="T33" fmla="*/ 2147483647 h 239"/>
                <a:gd name="T34" fmla="*/ 2147483647 w 728"/>
                <a:gd name="T35" fmla="*/ 2147483647 h 239"/>
                <a:gd name="T36" fmla="*/ 2147483647 w 728"/>
                <a:gd name="T37" fmla="*/ 2147483647 h 239"/>
                <a:gd name="T38" fmla="*/ 2147483647 w 728"/>
                <a:gd name="T39" fmla="*/ 2147483647 h 239"/>
                <a:gd name="T40" fmla="*/ 2147483647 w 728"/>
                <a:gd name="T41" fmla="*/ 2147483647 h 239"/>
                <a:gd name="T42" fmla="*/ 2147483647 w 728"/>
                <a:gd name="T43" fmla="*/ 2147483647 h 239"/>
                <a:gd name="T44" fmla="*/ 0 w 728"/>
                <a:gd name="T45" fmla="*/ 2147483647 h 239"/>
                <a:gd name="T46" fmla="*/ 2147483647 w 728"/>
                <a:gd name="T47" fmla="*/ 2147483647 h 239"/>
                <a:gd name="T48" fmla="*/ 2147483647 w 728"/>
                <a:gd name="T49" fmla="*/ 2147483647 h 239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w 728"/>
                <a:gd name="T76" fmla="*/ 0 h 239"/>
                <a:gd name="T77" fmla="*/ 728 w 728"/>
                <a:gd name="T78" fmla="*/ 239 h 239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T75" t="T76" r="T77" b="T78"/>
              <a:pathLst>
                <a:path w="728" h="239">
                  <a:moveTo>
                    <a:pt x="13" y="196"/>
                  </a:moveTo>
                  <a:lnTo>
                    <a:pt x="9" y="194"/>
                  </a:lnTo>
                  <a:lnTo>
                    <a:pt x="30" y="177"/>
                  </a:lnTo>
                  <a:lnTo>
                    <a:pt x="50" y="140"/>
                  </a:lnTo>
                  <a:lnTo>
                    <a:pt x="43" y="132"/>
                  </a:lnTo>
                  <a:lnTo>
                    <a:pt x="53" y="114"/>
                  </a:lnTo>
                  <a:lnTo>
                    <a:pt x="53" y="93"/>
                  </a:lnTo>
                  <a:lnTo>
                    <a:pt x="68" y="79"/>
                  </a:lnTo>
                  <a:lnTo>
                    <a:pt x="181" y="70"/>
                  </a:lnTo>
                  <a:lnTo>
                    <a:pt x="180" y="52"/>
                  </a:lnTo>
                  <a:lnTo>
                    <a:pt x="217" y="55"/>
                  </a:lnTo>
                  <a:lnTo>
                    <a:pt x="558" y="23"/>
                  </a:lnTo>
                  <a:lnTo>
                    <a:pt x="728" y="0"/>
                  </a:lnTo>
                  <a:lnTo>
                    <a:pt x="698" y="58"/>
                  </a:lnTo>
                  <a:lnTo>
                    <a:pt x="652" y="68"/>
                  </a:lnTo>
                  <a:lnTo>
                    <a:pt x="630" y="98"/>
                  </a:lnTo>
                  <a:lnTo>
                    <a:pt x="547" y="145"/>
                  </a:lnTo>
                  <a:lnTo>
                    <a:pt x="542" y="163"/>
                  </a:lnTo>
                  <a:lnTo>
                    <a:pt x="521" y="173"/>
                  </a:lnTo>
                  <a:lnTo>
                    <a:pt x="521" y="196"/>
                  </a:lnTo>
                  <a:lnTo>
                    <a:pt x="408" y="210"/>
                  </a:lnTo>
                  <a:lnTo>
                    <a:pt x="183" y="229"/>
                  </a:lnTo>
                  <a:lnTo>
                    <a:pt x="0" y="239"/>
                  </a:lnTo>
                  <a:lnTo>
                    <a:pt x="13" y="196"/>
                  </a:lnTo>
                  <a:close/>
                </a:path>
              </a:pathLst>
            </a:custGeom>
            <a:solidFill>
              <a:srgbClr val="FAA4E3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9223" name="Freeform 72">
              <a:hlinkClick r:id="rId11"/>
            </p:cNvPr>
            <p:cNvSpPr>
              <a:spLocks/>
            </p:cNvSpPr>
            <p:nvPr/>
          </p:nvSpPr>
          <p:spPr bwMode="auto">
            <a:xfrm>
              <a:off x="5257800" y="4124327"/>
              <a:ext cx="461963" cy="903287"/>
            </a:xfrm>
            <a:custGeom>
              <a:avLst/>
              <a:gdLst>
                <a:gd name="T0" fmla="*/ 2147483647 w 303"/>
                <a:gd name="T1" fmla="*/ 2147483647 h 507"/>
                <a:gd name="T2" fmla="*/ 2147483647 w 303"/>
                <a:gd name="T3" fmla="*/ 2147483647 h 507"/>
                <a:gd name="T4" fmla="*/ 2147483647 w 303"/>
                <a:gd name="T5" fmla="*/ 2147483647 h 507"/>
                <a:gd name="T6" fmla="*/ 2147483647 w 303"/>
                <a:gd name="T7" fmla="*/ 2147483647 h 507"/>
                <a:gd name="T8" fmla="*/ 2147483647 w 303"/>
                <a:gd name="T9" fmla="*/ 2147483647 h 507"/>
                <a:gd name="T10" fmla="*/ 2147483647 w 303"/>
                <a:gd name="T11" fmla="*/ 2147483647 h 507"/>
                <a:gd name="T12" fmla="*/ 2147483647 w 303"/>
                <a:gd name="T13" fmla="*/ 2147483647 h 507"/>
                <a:gd name="T14" fmla="*/ 2147483647 w 303"/>
                <a:gd name="T15" fmla="*/ 2147483647 h 507"/>
                <a:gd name="T16" fmla="*/ 2147483647 w 303"/>
                <a:gd name="T17" fmla="*/ 2147483647 h 507"/>
                <a:gd name="T18" fmla="*/ 2147483647 w 303"/>
                <a:gd name="T19" fmla="*/ 0 h 507"/>
                <a:gd name="T20" fmla="*/ 2147483647 w 303"/>
                <a:gd name="T21" fmla="*/ 2147483647 h 507"/>
                <a:gd name="T22" fmla="*/ 2147483647 w 303"/>
                <a:gd name="T23" fmla="*/ 2147483647 h 507"/>
                <a:gd name="T24" fmla="*/ 2147483647 w 303"/>
                <a:gd name="T25" fmla="*/ 2147483647 h 507"/>
                <a:gd name="T26" fmla="*/ 2147483647 w 303"/>
                <a:gd name="T27" fmla="*/ 2147483647 h 507"/>
                <a:gd name="T28" fmla="*/ 2147483647 w 303"/>
                <a:gd name="T29" fmla="*/ 2147483647 h 507"/>
                <a:gd name="T30" fmla="*/ 2147483647 w 303"/>
                <a:gd name="T31" fmla="*/ 2147483647 h 507"/>
                <a:gd name="T32" fmla="*/ 2147483647 w 303"/>
                <a:gd name="T33" fmla="*/ 2147483647 h 507"/>
                <a:gd name="T34" fmla="*/ 2147483647 w 303"/>
                <a:gd name="T35" fmla="*/ 2147483647 h 507"/>
                <a:gd name="T36" fmla="*/ 0 w 303"/>
                <a:gd name="T37" fmla="*/ 2147483647 h 507"/>
                <a:gd name="T38" fmla="*/ 2147483647 w 303"/>
                <a:gd name="T39" fmla="*/ 2147483647 h 507"/>
                <a:gd name="T40" fmla="*/ 2147483647 w 303"/>
                <a:gd name="T41" fmla="*/ 2147483647 h 507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w 303"/>
                <a:gd name="T64" fmla="*/ 0 h 507"/>
                <a:gd name="T65" fmla="*/ 303 w 303"/>
                <a:gd name="T66" fmla="*/ 507 h 507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T63" t="T64" r="T65" b="T66"/>
              <a:pathLst>
                <a:path w="303" h="507">
                  <a:moveTo>
                    <a:pt x="21" y="354"/>
                  </a:moveTo>
                  <a:lnTo>
                    <a:pt x="51" y="315"/>
                  </a:lnTo>
                  <a:lnTo>
                    <a:pt x="42" y="305"/>
                  </a:lnTo>
                  <a:lnTo>
                    <a:pt x="30" y="223"/>
                  </a:lnTo>
                  <a:lnTo>
                    <a:pt x="26" y="167"/>
                  </a:lnTo>
                  <a:lnTo>
                    <a:pt x="46" y="105"/>
                  </a:lnTo>
                  <a:lnTo>
                    <a:pt x="79" y="62"/>
                  </a:lnTo>
                  <a:lnTo>
                    <a:pt x="76" y="50"/>
                  </a:lnTo>
                  <a:lnTo>
                    <a:pt x="100" y="10"/>
                  </a:lnTo>
                  <a:lnTo>
                    <a:pt x="283" y="0"/>
                  </a:lnTo>
                  <a:lnTo>
                    <a:pt x="291" y="9"/>
                  </a:lnTo>
                  <a:lnTo>
                    <a:pt x="283" y="324"/>
                  </a:lnTo>
                  <a:lnTo>
                    <a:pt x="303" y="476"/>
                  </a:lnTo>
                  <a:lnTo>
                    <a:pt x="296" y="484"/>
                  </a:lnTo>
                  <a:lnTo>
                    <a:pt x="257" y="475"/>
                  </a:lnTo>
                  <a:lnTo>
                    <a:pt x="198" y="507"/>
                  </a:lnTo>
                  <a:lnTo>
                    <a:pt x="168" y="458"/>
                  </a:lnTo>
                  <a:lnTo>
                    <a:pt x="173" y="423"/>
                  </a:lnTo>
                  <a:lnTo>
                    <a:pt x="0" y="430"/>
                  </a:lnTo>
                  <a:lnTo>
                    <a:pt x="21" y="354"/>
                  </a:lnTo>
                  <a:close/>
                </a:path>
              </a:pathLst>
            </a:custGeom>
            <a:solidFill>
              <a:srgbClr val="FAA4E3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9224" name="Freeform 73">
              <a:hlinkClick r:id="rId11"/>
            </p:cNvPr>
            <p:cNvSpPr>
              <a:spLocks/>
            </p:cNvSpPr>
            <p:nvPr/>
          </p:nvSpPr>
          <p:spPr bwMode="auto">
            <a:xfrm>
              <a:off x="5686425" y="4113213"/>
              <a:ext cx="495300" cy="835025"/>
            </a:xfrm>
            <a:custGeom>
              <a:avLst/>
              <a:gdLst>
                <a:gd name="T0" fmla="*/ 2147483647 w 325"/>
                <a:gd name="T1" fmla="*/ 2147483647 h 511"/>
                <a:gd name="T2" fmla="*/ 0 w 325"/>
                <a:gd name="T3" fmla="*/ 2147483647 h 511"/>
                <a:gd name="T4" fmla="*/ 2147483647 w 325"/>
                <a:gd name="T5" fmla="*/ 2147483647 h 511"/>
                <a:gd name="T6" fmla="*/ 2147483647 w 325"/>
                <a:gd name="T7" fmla="*/ 2147483647 h 511"/>
                <a:gd name="T8" fmla="*/ 2147483647 w 325"/>
                <a:gd name="T9" fmla="*/ 2147483647 h 511"/>
                <a:gd name="T10" fmla="*/ 2147483647 w 325"/>
                <a:gd name="T11" fmla="*/ 2147483647 h 511"/>
                <a:gd name="T12" fmla="*/ 2147483647 w 325"/>
                <a:gd name="T13" fmla="*/ 2147483647 h 511"/>
                <a:gd name="T14" fmla="*/ 2147483647 w 325"/>
                <a:gd name="T15" fmla="*/ 2147483647 h 511"/>
                <a:gd name="T16" fmla="*/ 2147483647 w 325"/>
                <a:gd name="T17" fmla="*/ 2147483647 h 511"/>
                <a:gd name="T18" fmla="*/ 2147483647 w 325"/>
                <a:gd name="T19" fmla="*/ 2147483647 h 511"/>
                <a:gd name="T20" fmla="*/ 2147483647 w 325"/>
                <a:gd name="T21" fmla="*/ 2147483647 h 511"/>
                <a:gd name="T22" fmla="*/ 2147483647 w 325"/>
                <a:gd name="T23" fmla="*/ 2147483647 h 511"/>
                <a:gd name="T24" fmla="*/ 2147483647 w 325"/>
                <a:gd name="T25" fmla="*/ 2147483647 h 511"/>
                <a:gd name="T26" fmla="*/ 2147483647 w 325"/>
                <a:gd name="T27" fmla="*/ 2147483647 h 511"/>
                <a:gd name="T28" fmla="*/ 2147483647 w 325"/>
                <a:gd name="T29" fmla="*/ 2147483647 h 511"/>
                <a:gd name="T30" fmla="*/ 2147483647 w 325"/>
                <a:gd name="T31" fmla="*/ 2147483647 h 511"/>
                <a:gd name="T32" fmla="*/ 2147483647 w 325"/>
                <a:gd name="T33" fmla="*/ 2147483647 h 511"/>
                <a:gd name="T34" fmla="*/ 2147483647 w 325"/>
                <a:gd name="T35" fmla="*/ 0 h 511"/>
                <a:gd name="T36" fmla="*/ 0 w 325"/>
                <a:gd name="T37" fmla="*/ 2147483647 h 511"/>
                <a:gd name="T38" fmla="*/ 2147483647 w 325"/>
                <a:gd name="T39" fmla="*/ 2147483647 h 511"/>
                <a:gd name="T40" fmla="*/ 2147483647 w 325"/>
                <a:gd name="T41" fmla="*/ 2147483647 h 511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w 325"/>
                <a:gd name="T64" fmla="*/ 0 h 511"/>
                <a:gd name="T65" fmla="*/ 325 w 325"/>
                <a:gd name="T66" fmla="*/ 511 h 511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T63" t="T64" r="T65" b="T66"/>
              <a:pathLst>
                <a:path w="325" h="511">
                  <a:moveTo>
                    <a:pt x="8" y="28"/>
                  </a:moveTo>
                  <a:lnTo>
                    <a:pt x="0" y="343"/>
                  </a:lnTo>
                  <a:lnTo>
                    <a:pt x="20" y="495"/>
                  </a:lnTo>
                  <a:lnTo>
                    <a:pt x="43" y="501"/>
                  </a:lnTo>
                  <a:lnTo>
                    <a:pt x="63" y="489"/>
                  </a:lnTo>
                  <a:lnTo>
                    <a:pt x="75" y="501"/>
                  </a:lnTo>
                  <a:lnTo>
                    <a:pt x="57" y="511"/>
                  </a:lnTo>
                  <a:lnTo>
                    <a:pt x="102" y="500"/>
                  </a:lnTo>
                  <a:lnTo>
                    <a:pt x="111" y="486"/>
                  </a:lnTo>
                  <a:lnTo>
                    <a:pt x="105" y="477"/>
                  </a:lnTo>
                  <a:lnTo>
                    <a:pt x="108" y="464"/>
                  </a:lnTo>
                  <a:lnTo>
                    <a:pt x="87" y="445"/>
                  </a:lnTo>
                  <a:lnTo>
                    <a:pt x="87" y="429"/>
                  </a:lnTo>
                  <a:lnTo>
                    <a:pt x="325" y="408"/>
                  </a:lnTo>
                  <a:lnTo>
                    <a:pt x="306" y="327"/>
                  </a:lnTo>
                  <a:lnTo>
                    <a:pt x="317" y="278"/>
                  </a:lnTo>
                  <a:lnTo>
                    <a:pt x="288" y="215"/>
                  </a:lnTo>
                  <a:lnTo>
                    <a:pt x="225" y="0"/>
                  </a:lnTo>
                  <a:lnTo>
                    <a:pt x="0" y="19"/>
                  </a:lnTo>
                  <a:lnTo>
                    <a:pt x="8" y="28"/>
                  </a:lnTo>
                  <a:close/>
                </a:path>
              </a:pathLst>
            </a:custGeom>
            <a:solidFill>
              <a:srgbClr val="FAA4E3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9225" name="Freeform 74">
              <a:hlinkClick r:id="rId13"/>
            </p:cNvPr>
            <p:cNvSpPr>
              <a:spLocks/>
            </p:cNvSpPr>
            <p:nvPr/>
          </p:nvSpPr>
          <p:spPr bwMode="auto">
            <a:xfrm>
              <a:off x="5983288" y="4048125"/>
              <a:ext cx="700087" cy="762000"/>
            </a:xfrm>
            <a:custGeom>
              <a:avLst/>
              <a:gdLst>
                <a:gd name="T0" fmla="*/ 2147483647 w 459"/>
                <a:gd name="T1" fmla="*/ 2147483647 h 468"/>
                <a:gd name="T2" fmla="*/ 2147483647 w 459"/>
                <a:gd name="T3" fmla="*/ 2147483647 h 468"/>
                <a:gd name="T4" fmla="*/ 2147483647 w 459"/>
                <a:gd name="T5" fmla="*/ 2147483647 h 468"/>
                <a:gd name="T6" fmla="*/ 2147483647 w 459"/>
                <a:gd name="T7" fmla="*/ 2147483647 h 468"/>
                <a:gd name="T8" fmla="*/ 2147483647 w 459"/>
                <a:gd name="T9" fmla="*/ 2147483647 h 468"/>
                <a:gd name="T10" fmla="*/ 2147483647 w 459"/>
                <a:gd name="T11" fmla="*/ 2147483647 h 468"/>
                <a:gd name="T12" fmla="*/ 2147483647 w 459"/>
                <a:gd name="T13" fmla="*/ 2147483647 h 468"/>
                <a:gd name="T14" fmla="*/ 2147483647 w 459"/>
                <a:gd name="T15" fmla="*/ 2147483647 h 468"/>
                <a:gd name="T16" fmla="*/ 2147483647 w 459"/>
                <a:gd name="T17" fmla="*/ 2147483647 h 468"/>
                <a:gd name="T18" fmla="*/ 2147483647 w 459"/>
                <a:gd name="T19" fmla="*/ 2147483647 h 468"/>
                <a:gd name="T20" fmla="*/ 2147483647 w 459"/>
                <a:gd name="T21" fmla="*/ 2147483647 h 468"/>
                <a:gd name="T22" fmla="*/ 2147483647 w 459"/>
                <a:gd name="T23" fmla="*/ 2147483647 h 468"/>
                <a:gd name="T24" fmla="*/ 2147483647 w 459"/>
                <a:gd name="T25" fmla="*/ 2147483647 h 468"/>
                <a:gd name="T26" fmla="*/ 2147483647 w 459"/>
                <a:gd name="T27" fmla="*/ 2147483647 h 468"/>
                <a:gd name="T28" fmla="*/ 2147483647 w 459"/>
                <a:gd name="T29" fmla="*/ 2147483647 h 468"/>
                <a:gd name="T30" fmla="*/ 2147483647 w 459"/>
                <a:gd name="T31" fmla="*/ 2147483647 h 468"/>
                <a:gd name="T32" fmla="*/ 2147483647 w 459"/>
                <a:gd name="T33" fmla="*/ 2147483647 h 468"/>
                <a:gd name="T34" fmla="*/ 2147483647 w 459"/>
                <a:gd name="T35" fmla="*/ 2147483647 h 468"/>
                <a:gd name="T36" fmla="*/ 2147483647 w 459"/>
                <a:gd name="T37" fmla="*/ 2147483647 h 468"/>
                <a:gd name="T38" fmla="*/ 2147483647 w 459"/>
                <a:gd name="T39" fmla="*/ 0 h 468"/>
                <a:gd name="T40" fmla="*/ 2147483647 w 459"/>
                <a:gd name="T41" fmla="*/ 2147483647 h 468"/>
                <a:gd name="T42" fmla="*/ 0 w 459"/>
                <a:gd name="T43" fmla="*/ 2147483647 h 468"/>
                <a:gd name="T44" fmla="*/ 2147483647 w 459"/>
                <a:gd name="T45" fmla="*/ 2147483647 h 468"/>
                <a:gd name="T46" fmla="*/ 2147483647 w 459"/>
                <a:gd name="T47" fmla="*/ 2147483647 h 468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w 459"/>
                <a:gd name="T73" fmla="*/ 0 h 468"/>
                <a:gd name="T74" fmla="*/ 459 w 459"/>
                <a:gd name="T75" fmla="*/ 468 h 468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T72" t="T73" r="T74" b="T75"/>
              <a:pathLst>
                <a:path w="459" h="468">
                  <a:moveTo>
                    <a:pt x="63" y="242"/>
                  </a:moveTo>
                  <a:lnTo>
                    <a:pt x="92" y="305"/>
                  </a:lnTo>
                  <a:lnTo>
                    <a:pt x="81" y="354"/>
                  </a:lnTo>
                  <a:lnTo>
                    <a:pt x="100" y="435"/>
                  </a:lnTo>
                  <a:lnTo>
                    <a:pt x="118" y="462"/>
                  </a:lnTo>
                  <a:lnTo>
                    <a:pt x="363" y="448"/>
                  </a:lnTo>
                  <a:lnTo>
                    <a:pt x="366" y="465"/>
                  </a:lnTo>
                  <a:lnTo>
                    <a:pt x="381" y="468"/>
                  </a:lnTo>
                  <a:lnTo>
                    <a:pt x="375" y="428"/>
                  </a:lnTo>
                  <a:lnTo>
                    <a:pt x="385" y="417"/>
                  </a:lnTo>
                  <a:lnTo>
                    <a:pt x="421" y="425"/>
                  </a:lnTo>
                  <a:lnTo>
                    <a:pt x="427" y="397"/>
                  </a:lnTo>
                  <a:lnTo>
                    <a:pt x="422" y="360"/>
                  </a:lnTo>
                  <a:lnTo>
                    <a:pt x="437" y="350"/>
                  </a:lnTo>
                  <a:lnTo>
                    <a:pt x="459" y="279"/>
                  </a:lnTo>
                  <a:lnTo>
                    <a:pt x="445" y="276"/>
                  </a:lnTo>
                  <a:lnTo>
                    <a:pt x="385" y="185"/>
                  </a:lnTo>
                  <a:lnTo>
                    <a:pt x="256" y="70"/>
                  </a:lnTo>
                  <a:lnTo>
                    <a:pt x="199" y="34"/>
                  </a:lnTo>
                  <a:lnTo>
                    <a:pt x="219" y="0"/>
                  </a:lnTo>
                  <a:lnTo>
                    <a:pt x="113" y="13"/>
                  </a:lnTo>
                  <a:lnTo>
                    <a:pt x="0" y="27"/>
                  </a:lnTo>
                  <a:lnTo>
                    <a:pt x="63" y="242"/>
                  </a:lnTo>
                  <a:close/>
                </a:path>
              </a:pathLst>
            </a:custGeom>
            <a:solidFill>
              <a:srgbClr val="FAA4E3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9226" name="Freeform 75">
              <a:hlinkClick r:id="rId14"/>
            </p:cNvPr>
            <p:cNvSpPr>
              <a:spLocks/>
            </p:cNvSpPr>
            <p:nvPr/>
          </p:nvSpPr>
          <p:spPr bwMode="auto">
            <a:xfrm>
              <a:off x="5774535" y="4729956"/>
              <a:ext cx="1182688" cy="927100"/>
            </a:xfrm>
            <a:custGeom>
              <a:avLst/>
              <a:gdLst>
                <a:gd name="T0" fmla="*/ 0 w 774"/>
                <a:gd name="T1" fmla="*/ 2147483647 h 568"/>
                <a:gd name="T2" fmla="*/ 2147483647 w 774"/>
                <a:gd name="T3" fmla="*/ 2147483647 h 568"/>
                <a:gd name="T4" fmla="*/ 2147483647 w 774"/>
                <a:gd name="T5" fmla="*/ 2147483647 h 568"/>
                <a:gd name="T6" fmla="*/ 2147483647 w 774"/>
                <a:gd name="T7" fmla="*/ 2147483647 h 568"/>
                <a:gd name="T8" fmla="*/ 2147483647 w 774"/>
                <a:gd name="T9" fmla="*/ 2147483647 h 568"/>
                <a:gd name="T10" fmla="*/ 2147483647 w 774"/>
                <a:gd name="T11" fmla="*/ 2147483647 h 568"/>
                <a:gd name="T12" fmla="*/ 2147483647 w 774"/>
                <a:gd name="T13" fmla="*/ 2147483647 h 568"/>
                <a:gd name="T14" fmla="*/ 2147483647 w 774"/>
                <a:gd name="T15" fmla="*/ 2147483647 h 568"/>
                <a:gd name="T16" fmla="*/ 2147483647 w 774"/>
                <a:gd name="T17" fmla="*/ 2147483647 h 568"/>
                <a:gd name="T18" fmla="*/ 2147483647 w 774"/>
                <a:gd name="T19" fmla="*/ 2147483647 h 568"/>
                <a:gd name="T20" fmla="*/ 2147483647 w 774"/>
                <a:gd name="T21" fmla="*/ 2147483647 h 568"/>
                <a:gd name="T22" fmla="*/ 2147483647 w 774"/>
                <a:gd name="T23" fmla="*/ 2147483647 h 568"/>
                <a:gd name="T24" fmla="*/ 2147483647 w 774"/>
                <a:gd name="T25" fmla="*/ 2147483647 h 568"/>
                <a:gd name="T26" fmla="*/ 2147483647 w 774"/>
                <a:gd name="T27" fmla="*/ 2147483647 h 568"/>
                <a:gd name="T28" fmla="*/ 2147483647 w 774"/>
                <a:gd name="T29" fmla="*/ 2147483647 h 568"/>
                <a:gd name="T30" fmla="*/ 2147483647 w 774"/>
                <a:gd name="T31" fmla="*/ 2147483647 h 568"/>
                <a:gd name="T32" fmla="*/ 2147483647 w 774"/>
                <a:gd name="T33" fmla="*/ 2147483647 h 568"/>
                <a:gd name="T34" fmla="*/ 2147483647 w 774"/>
                <a:gd name="T35" fmla="*/ 2147483647 h 568"/>
                <a:gd name="T36" fmla="*/ 2147483647 w 774"/>
                <a:gd name="T37" fmla="*/ 2147483647 h 568"/>
                <a:gd name="T38" fmla="*/ 2147483647 w 774"/>
                <a:gd name="T39" fmla="*/ 2147483647 h 568"/>
                <a:gd name="T40" fmla="*/ 2147483647 w 774"/>
                <a:gd name="T41" fmla="*/ 2147483647 h 568"/>
                <a:gd name="T42" fmla="*/ 2147483647 w 774"/>
                <a:gd name="T43" fmla="*/ 2147483647 h 568"/>
                <a:gd name="T44" fmla="*/ 2147483647 w 774"/>
                <a:gd name="T45" fmla="*/ 2147483647 h 568"/>
                <a:gd name="T46" fmla="*/ 2147483647 w 774"/>
                <a:gd name="T47" fmla="*/ 2147483647 h 568"/>
                <a:gd name="T48" fmla="*/ 2147483647 w 774"/>
                <a:gd name="T49" fmla="*/ 2147483647 h 568"/>
                <a:gd name="T50" fmla="*/ 2147483647 w 774"/>
                <a:gd name="T51" fmla="*/ 2147483647 h 568"/>
                <a:gd name="T52" fmla="*/ 2147483647 w 774"/>
                <a:gd name="T53" fmla="*/ 2147483647 h 568"/>
                <a:gd name="T54" fmla="*/ 2147483647 w 774"/>
                <a:gd name="T55" fmla="*/ 2147483647 h 568"/>
                <a:gd name="T56" fmla="*/ 2147483647 w 774"/>
                <a:gd name="T57" fmla="*/ 2147483647 h 568"/>
                <a:gd name="T58" fmla="*/ 2147483647 w 774"/>
                <a:gd name="T59" fmla="*/ 2147483647 h 568"/>
                <a:gd name="T60" fmla="*/ 2147483647 w 774"/>
                <a:gd name="T61" fmla="*/ 2147483647 h 568"/>
                <a:gd name="T62" fmla="*/ 2147483647 w 774"/>
                <a:gd name="T63" fmla="*/ 2147483647 h 568"/>
                <a:gd name="T64" fmla="*/ 2147483647 w 774"/>
                <a:gd name="T65" fmla="*/ 2147483647 h 568"/>
                <a:gd name="T66" fmla="*/ 2147483647 w 774"/>
                <a:gd name="T67" fmla="*/ 2147483647 h 568"/>
                <a:gd name="T68" fmla="*/ 2147483647 w 774"/>
                <a:gd name="T69" fmla="*/ 2147483647 h 568"/>
                <a:gd name="T70" fmla="*/ 2147483647 w 774"/>
                <a:gd name="T71" fmla="*/ 2147483647 h 568"/>
                <a:gd name="T72" fmla="*/ 2147483647 w 774"/>
                <a:gd name="T73" fmla="*/ 2147483647 h 568"/>
                <a:gd name="T74" fmla="*/ 2147483647 w 774"/>
                <a:gd name="T75" fmla="*/ 0 h 568"/>
                <a:gd name="T76" fmla="*/ 2147483647 w 774"/>
                <a:gd name="T77" fmla="*/ 2147483647 h 568"/>
                <a:gd name="T78" fmla="*/ 2147483647 w 774"/>
                <a:gd name="T79" fmla="*/ 2147483647 h 568"/>
                <a:gd name="T80" fmla="*/ 2147483647 w 774"/>
                <a:gd name="T81" fmla="*/ 2147483647 h 568"/>
                <a:gd name="T82" fmla="*/ 2147483647 w 774"/>
                <a:gd name="T83" fmla="*/ 2147483647 h 568"/>
                <a:gd name="T84" fmla="*/ 2147483647 w 774"/>
                <a:gd name="T85" fmla="*/ 2147483647 h 568"/>
                <a:gd name="T86" fmla="*/ 2147483647 w 774"/>
                <a:gd name="T87" fmla="*/ 2147483647 h 568"/>
                <a:gd name="T88" fmla="*/ 0 w 774"/>
                <a:gd name="T89" fmla="*/ 2147483647 h 568"/>
                <a:gd name="T90" fmla="*/ 0 w 774"/>
                <a:gd name="T91" fmla="*/ 2147483647 h 568"/>
                <a:gd name="T92" fmla="*/ 0 w 774"/>
                <a:gd name="T93" fmla="*/ 2147483647 h 568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774"/>
                <a:gd name="T142" fmla="*/ 0 h 568"/>
                <a:gd name="T143" fmla="*/ 774 w 774"/>
                <a:gd name="T144" fmla="*/ 568 h 568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774" h="568">
                  <a:moveTo>
                    <a:pt x="0" y="55"/>
                  </a:moveTo>
                  <a:lnTo>
                    <a:pt x="21" y="74"/>
                  </a:lnTo>
                  <a:lnTo>
                    <a:pt x="18" y="87"/>
                  </a:lnTo>
                  <a:lnTo>
                    <a:pt x="24" y="96"/>
                  </a:lnTo>
                  <a:lnTo>
                    <a:pt x="15" y="110"/>
                  </a:lnTo>
                  <a:lnTo>
                    <a:pt x="106" y="79"/>
                  </a:lnTo>
                  <a:lnTo>
                    <a:pt x="222" y="151"/>
                  </a:lnTo>
                  <a:lnTo>
                    <a:pt x="317" y="101"/>
                  </a:lnTo>
                  <a:lnTo>
                    <a:pt x="372" y="113"/>
                  </a:lnTo>
                  <a:lnTo>
                    <a:pt x="441" y="180"/>
                  </a:lnTo>
                  <a:lnTo>
                    <a:pt x="467" y="180"/>
                  </a:lnTo>
                  <a:lnTo>
                    <a:pt x="489" y="228"/>
                  </a:lnTo>
                  <a:lnTo>
                    <a:pt x="483" y="317"/>
                  </a:lnTo>
                  <a:lnTo>
                    <a:pt x="499" y="328"/>
                  </a:lnTo>
                  <a:lnTo>
                    <a:pt x="502" y="312"/>
                  </a:lnTo>
                  <a:lnTo>
                    <a:pt x="525" y="312"/>
                  </a:lnTo>
                  <a:lnTo>
                    <a:pt x="502" y="354"/>
                  </a:lnTo>
                  <a:lnTo>
                    <a:pt x="562" y="413"/>
                  </a:lnTo>
                  <a:lnTo>
                    <a:pt x="571" y="397"/>
                  </a:lnTo>
                  <a:lnTo>
                    <a:pt x="575" y="438"/>
                  </a:lnTo>
                  <a:lnTo>
                    <a:pt x="594" y="447"/>
                  </a:lnTo>
                  <a:lnTo>
                    <a:pt x="615" y="497"/>
                  </a:lnTo>
                  <a:lnTo>
                    <a:pt x="636" y="497"/>
                  </a:lnTo>
                  <a:lnTo>
                    <a:pt x="681" y="545"/>
                  </a:lnTo>
                  <a:lnTo>
                    <a:pt x="706" y="547"/>
                  </a:lnTo>
                  <a:lnTo>
                    <a:pt x="706" y="555"/>
                  </a:lnTo>
                  <a:lnTo>
                    <a:pt x="688" y="568"/>
                  </a:lnTo>
                  <a:lnTo>
                    <a:pt x="728" y="562"/>
                  </a:lnTo>
                  <a:lnTo>
                    <a:pt x="753" y="552"/>
                  </a:lnTo>
                  <a:lnTo>
                    <a:pt x="767" y="486"/>
                  </a:lnTo>
                  <a:lnTo>
                    <a:pt x="774" y="488"/>
                  </a:lnTo>
                  <a:lnTo>
                    <a:pt x="768" y="397"/>
                  </a:lnTo>
                  <a:lnTo>
                    <a:pt x="758" y="371"/>
                  </a:lnTo>
                  <a:lnTo>
                    <a:pt x="675" y="238"/>
                  </a:lnTo>
                  <a:lnTo>
                    <a:pt x="609" y="113"/>
                  </a:lnTo>
                  <a:lnTo>
                    <a:pt x="569" y="9"/>
                  </a:lnTo>
                  <a:lnTo>
                    <a:pt x="559" y="8"/>
                  </a:lnTo>
                  <a:lnTo>
                    <a:pt x="523" y="0"/>
                  </a:lnTo>
                  <a:lnTo>
                    <a:pt x="513" y="11"/>
                  </a:lnTo>
                  <a:lnTo>
                    <a:pt x="519" y="51"/>
                  </a:lnTo>
                  <a:lnTo>
                    <a:pt x="504" y="48"/>
                  </a:lnTo>
                  <a:lnTo>
                    <a:pt x="501" y="31"/>
                  </a:lnTo>
                  <a:lnTo>
                    <a:pt x="256" y="45"/>
                  </a:lnTo>
                  <a:lnTo>
                    <a:pt x="238" y="18"/>
                  </a:lnTo>
                  <a:lnTo>
                    <a:pt x="0" y="39"/>
                  </a:lnTo>
                  <a:lnTo>
                    <a:pt x="0" y="55"/>
                  </a:lnTo>
                  <a:close/>
                </a:path>
              </a:pathLst>
            </a:custGeom>
            <a:solidFill>
              <a:srgbClr val="FAA4E3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9227" name="Freeform 76"/>
            <p:cNvSpPr>
              <a:spLocks/>
            </p:cNvSpPr>
            <p:nvPr/>
          </p:nvSpPr>
          <p:spPr bwMode="auto">
            <a:xfrm>
              <a:off x="6940550" y="5622925"/>
              <a:ext cx="71438" cy="76200"/>
            </a:xfrm>
            <a:custGeom>
              <a:avLst/>
              <a:gdLst>
                <a:gd name="T0" fmla="*/ 2147483647 w 15"/>
                <a:gd name="T1" fmla="*/ 2147483647 h 29"/>
                <a:gd name="T2" fmla="*/ 2147483647 w 15"/>
                <a:gd name="T3" fmla="*/ 2147483647 h 29"/>
                <a:gd name="T4" fmla="*/ 2147483647 w 15"/>
                <a:gd name="T5" fmla="*/ 0 h 29"/>
                <a:gd name="T6" fmla="*/ 2147483647 w 15"/>
                <a:gd name="T7" fmla="*/ 2147483647 h 29"/>
                <a:gd name="T8" fmla="*/ 0 w 15"/>
                <a:gd name="T9" fmla="*/ 2147483647 h 29"/>
                <a:gd name="T10" fmla="*/ 2147483647 w 15"/>
                <a:gd name="T11" fmla="*/ 2147483647 h 29"/>
                <a:gd name="T12" fmla="*/ 2147483647 w 15"/>
                <a:gd name="T13" fmla="*/ 2147483647 h 29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5"/>
                <a:gd name="T22" fmla="*/ 0 h 29"/>
                <a:gd name="T23" fmla="*/ 15 w 15"/>
                <a:gd name="T24" fmla="*/ 29 h 29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5" h="29">
                  <a:moveTo>
                    <a:pt x="4" y="29"/>
                  </a:moveTo>
                  <a:lnTo>
                    <a:pt x="12" y="22"/>
                  </a:lnTo>
                  <a:lnTo>
                    <a:pt x="15" y="0"/>
                  </a:lnTo>
                  <a:lnTo>
                    <a:pt x="7" y="21"/>
                  </a:lnTo>
                  <a:lnTo>
                    <a:pt x="0" y="26"/>
                  </a:lnTo>
                  <a:lnTo>
                    <a:pt x="4" y="29"/>
                  </a:lnTo>
                  <a:close/>
                </a:path>
              </a:pathLst>
            </a:custGeom>
            <a:solidFill>
              <a:srgbClr val="DFBBD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9228" name="Freeform 77"/>
            <p:cNvSpPr>
              <a:spLocks/>
            </p:cNvSpPr>
            <p:nvPr/>
          </p:nvSpPr>
          <p:spPr bwMode="auto">
            <a:xfrm>
              <a:off x="6008688" y="2841625"/>
              <a:ext cx="549275" cy="646113"/>
            </a:xfrm>
            <a:custGeom>
              <a:avLst/>
              <a:gdLst>
                <a:gd name="T0" fmla="*/ 0 w 359"/>
                <a:gd name="T1" fmla="*/ 2147483647 h 391"/>
                <a:gd name="T2" fmla="*/ 2147483647 w 359"/>
                <a:gd name="T3" fmla="*/ 2147483647 h 391"/>
                <a:gd name="T4" fmla="*/ 2147483647 w 359"/>
                <a:gd name="T5" fmla="*/ 2147483647 h 391"/>
                <a:gd name="T6" fmla="*/ 2147483647 w 359"/>
                <a:gd name="T7" fmla="*/ 2147483647 h 391"/>
                <a:gd name="T8" fmla="*/ 2147483647 w 359"/>
                <a:gd name="T9" fmla="*/ 2147483647 h 391"/>
                <a:gd name="T10" fmla="*/ 2147483647 w 359"/>
                <a:gd name="T11" fmla="*/ 2147483647 h 391"/>
                <a:gd name="T12" fmla="*/ 2147483647 w 359"/>
                <a:gd name="T13" fmla="*/ 2147483647 h 391"/>
                <a:gd name="T14" fmla="*/ 2147483647 w 359"/>
                <a:gd name="T15" fmla="*/ 2147483647 h 391"/>
                <a:gd name="T16" fmla="*/ 2147483647 w 359"/>
                <a:gd name="T17" fmla="*/ 2147483647 h 391"/>
                <a:gd name="T18" fmla="*/ 2147483647 w 359"/>
                <a:gd name="T19" fmla="*/ 2147483647 h 391"/>
                <a:gd name="T20" fmla="*/ 2147483647 w 359"/>
                <a:gd name="T21" fmla="*/ 2147483647 h 391"/>
                <a:gd name="T22" fmla="*/ 2147483647 w 359"/>
                <a:gd name="T23" fmla="*/ 2147483647 h 391"/>
                <a:gd name="T24" fmla="*/ 2147483647 w 359"/>
                <a:gd name="T25" fmla="*/ 2147483647 h 391"/>
                <a:gd name="T26" fmla="*/ 2147483647 w 359"/>
                <a:gd name="T27" fmla="*/ 2147483647 h 391"/>
                <a:gd name="T28" fmla="*/ 2147483647 w 359"/>
                <a:gd name="T29" fmla="*/ 2147483647 h 391"/>
                <a:gd name="T30" fmla="*/ 2147483647 w 359"/>
                <a:gd name="T31" fmla="*/ 0 h 391"/>
                <a:gd name="T32" fmla="*/ 2147483647 w 359"/>
                <a:gd name="T33" fmla="*/ 2147483647 h 391"/>
                <a:gd name="T34" fmla="*/ 2147483647 w 359"/>
                <a:gd name="T35" fmla="*/ 2147483647 h 391"/>
                <a:gd name="T36" fmla="*/ 2147483647 w 359"/>
                <a:gd name="T37" fmla="*/ 2147483647 h 391"/>
                <a:gd name="T38" fmla="*/ 2147483647 w 359"/>
                <a:gd name="T39" fmla="*/ 2147483647 h 391"/>
                <a:gd name="T40" fmla="*/ 2147483647 w 359"/>
                <a:gd name="T41" fmla="*/ 2147483647 h 391"/>
                <a:gd name="T42" fmla="*/ 0 w 359"/>
                <a:gd name="T43" fmla="*/ 2147483647 h 391"/>
                <a:gd name="T44" fmla="*/ 0 w 359"/>
                <a:gd name="T45" fmla="*/ 2147483647 h 391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w 359"/>
                <a:gd name="T70" fmla="*/ 0 h 391"/>
                <a:gd name="T71" fmla="*/ 359 w 359"/>
                <a:gd name="T72" fmla="*/ 391 h 391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T69" t="T70" r="T71" b="T72"/>
              <a:pathLst>
                <a:path w="359" h="391">
                  <a:moveTo>
                    <a:pt x="0" y="71"/>
                  </a:moveTo>
                  <a:lnTo>
                    <a:pt x="30" y="342"/>
                  </a:lnTo>
                  <a:lnTo>
                    <a:pt x="75" y="347"/>
                  </a:lnTo>
                  <a:lnTo>
                    <a:pt x="128" y="378"/>
                  </a:lnTo>
                  <a:lnTo>
                    <a:pt x="167" y="376"/>
                  </a:lnTo>
                  <a:lnTo>
                    <a:pt x="185" y="364"/>
                  </a:lnTo>
                  <a:lnTo>
                    <a:pt x="228" y="391"/>
                  </a:lnTo>
                  <a:lnTo>
                    <a:pt x="253" y="369"/>
                  </a:lnTo>
                  <a:lnTo>
                    <a:pt x="259" y="326"/>
                  </a:lnTo>
                  <a:lnTo>
                    <a:pt x="275" y="335"/>
                  </a:lnTo>
                  <a:lnTo>
                    <a:pt x="284" y="300"/>
                  </a:lnTo>
                  <a:lnTo>
                    <a:pt x="344" y="248"/>
                  </a:lnTo>
                  <a:lnTo>
                    <a:pt x="354" y="164"/>
                  </a:lnTo>
                  <a:lnTo>
                    <a:pt x="347" y="146"/>
                  </a:lnTo>
                  <a:lnTo>
                    <a:pt x="359" y="137"/>
                  </a:lnTo>
                  <a:lnTo>
                    <a:pt x="336" y="0"/>
                  </a:lnTo>
                  <a:lnTo>
                    <a:pt x="275" y="31"/>
                  </a:lnTo>
                  <a:lnTo>
                    <a:pt x="244" y="64"/>
                  </a:lnTo>
                  <a:lnTo>
                    <a:pt x="222" y="65"/>
                  </a:lnTo>
                  <a:lnTo>
                    <a:pt x="188" y="83"/>
                  </a:lnTo>
                  <a:lnTo>
                    <a:pt x="109" y="56"/>
                  </a:lnTo>
                  <a:lnTo>
                    <a:pt x="0" y="71"/>
                  </a:lnTo>
                  <a:close/>
                </a:path>
              </a:pathLst>
            </a:custGeom>
            <a:solidFill>
              <a:srgbClr val="FAA4E3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9229" name="Freeform 78">
              <a:hlinkClick r:id="rId10"/>
            </p:cNvPr>
            <p:cNvSpPr>
              <a:spLocks/>
            </p:cNvSpPr>
            <p:nvPr/>
          </p:nvSpPr>
          <p:spPr bwMode="auto">
            <a:xfrm>
              <a:off x="6351588" y="3032125"/>
              <a:ext cx="658812" cy="654050"/>
            </a:xfrm>
            <a:custGeom>
              <a:avLst/>
              <a:gdLst>
                <a:gd name="T0" fmla="*/ 0 w 382"/>
                <a:gd name="T1" fmla="*/ 2147483647 h 368"/>
                <a:gd name="T2" fmla="*/ 2147483647 w 382"/>
                <a:gd name="T3" fmla="*/ 2147483647 h 368"/>
                <a:gd name="T4" fmla="*/ 2147483647 w 382"/>
                <a:gd name="T5" fmla="*/ 2147483647 h 368"/>
                <a:gd name="T6" fmla="*/ 2147483647 w 382"/>
                <a:gd name="T7" fmla="*/ 2147483647 h 368"/>
                <a:gd name="T8" fmla="*/ 2147483647 w 382"/>
                <a:gd name="T9" fmla="*/ 2147483647 h 368"/>
                <a:gd name="T10" fmla="*/ 2147483647 w 382"/>
                <a:gd name="T11" fmla="*/ 2147483647 h 368"/>
                <a:gd name="T12" fmla="*/ 2147483647 w 382"/>
                <a:gd name="T13" fmla="*/ 2147483647 h 368"/>
                <a:gd name="T14" fmla="*/ 2147483647 w 382"/>
                <a:gd name="T15" fmla="*/ 2147483647 h 368"/>
                <a:gd name="T16" fmla="*/ 2147483647 w 382"/>
                <a:gd name="T17" fmla="*/ 2147483647 h 368"/>
                <a:gd name="T18" fmla="*/ 2147483647 w 382"/>
                <a:gd name="T19" fmla="*/ 2147483647 h 368"/>
                <a:gd name="T20" fmla="*/ 2147483647 w 382"/>
                <a:gd name="T21" fmla="*/ 2147483647 h 368"/>
                <a:gd name="T22" fmla="*/ 2147483647 w 382"/>
                <a:gd name="T23" fmla="*/ 2147483647 h 368"/>
                <a:gd name="T24" fmla="*/ 2147483647 w 382"/>
                <a:gd name="T25" fmla="*/ 2147483647 h 368"/>
                <a:gd name="T26" fmla="*/ 2147483647 w 382"/>
                <a:gd name="T27" fmla="*/ 2147483647 h 368"/>
                <a:gd name="T28" fmla="*/ 2147483647 w 382"/>
                <a:gd name="T29" fmla="*/ 2147483647 h 368"/>
                <a:gd name="T30" fmla="*/ 2147483647 w 382"/>
                <a:gd name="T31" fmla="*/ 2147483647 h 368"/>
                <a:gd name="T32" fmla="*/ 2147483647 w 382"/>
                <a:gd name="T33" fmla="*/ 2147483647 h 368"/>
                <a:gd name="T34" fmla="*/ 2147483647 w 382"/>
                <a:gd name="T35" fmla="*/ 2147483647 h 368"/>
                <a:gd name="T36" fmla="*/ 2147483647 w 382"/>
                <a:gd name="T37" fmla="*/ 2147483647 h 368"/>
                <a:gd name="T38" fmla="*/ 2147483647 w 382"/>
                <a:gd name="T39" fmla="*/ 0 h 368"/>
                <a:gd name="T40" fmla="*/ 2147483647 w 382"/>
                <a:gd name="T41" fmla="*/ 2147483647 h 368"/>
                <a:gd name="T42" fmla="*/ 2147483647 w 382"/>
                <a:gd name="T43" fmla="*/ 2147483647 h 368"/>
                <a:gd name="T44" fmla="*/ 2147483647 w 382"/>
                <a:gd name="T45" fmla="*/ 2147483647 h 368"/>
                <a:gd name="T46" fmla="*/ 2147483647 w 382"/>
                <a:gd name="T47" fmla="*/ 2147483647 h 368"/>
                <a:gd name="T48" fmla="*/ 2147483647 w 382"/>
                <a:gd name="T49" fmla="*/ 2147483647 h 368"/>
                <a:gd name="T50" fmla="*/ 2147483647 w 382"/>
                <a:gd name="T51" fmla="*/ 2147483647 h 368"/>
                <a:gd name="T52" fmla="*/ 2147483647 w 382"/>
                <a:gd name="T53" fmla="*/ 2147483647 h 368"/>
                <a:gd name="T54" fmla="*/ 0 w 382"/>
                <a:gd name="T55" fmla="*/ 2147483647 h 368"/>
                <a:gd name="T56" fmla="*/ 0 w 382"/>
                <a:gd name="T57" fmla="*/ 2147483647 h 368"/>
                <a:gd name="T58" fmla="*/ 0 w 382"/>
                <a:gd name="T59" fmla="*/ 2147483647 h 368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w 382"/>
                <a:gd name="T91" fmla="*/ 0 h 368"/>
                <a:gd name="T92" fmla="*/ 382 w 382"/>
                <a:gd name="T93" fmla="*/ 368 h 368"/>
              </a:gdLst>
              <a:ahLst/>
              <a:cxnLst>
                <a:cxn ang="T60">
                  <a:pos x="T0" y="T1"/>
                </a:cxn>
                <a:cxn ang="T61">
                  <a:pos x="T2" y="T3"/>
                </a:cxn>
                <a:cxn ang="T62">
                  <a:pos x="T4" y="T5"/>
                </a:cxn>
                <a:cxn ang="T63">
                  <a:pos x="T6" y="T7"/>
                </a:cxn>
                <a:cxn ang="T64">
                  <a:pos x="T8" y="T9"/>
                </a:cxn>
                <a:cxn ang="T65">
                  <a:pos x="T10" y="T11"/>
                </a:cxn>
                <a:cxn ang="T66">
                  <a:pos x="T12" y="T13"/>
                </a:cxn>
                <a:cxn ang="T67">
                  <a:pos x="T14" y="T15"/>
                </a:cxn>
                <a:cxn ang="T68">
                  <a:pos x="T16" y="T17"/>
                </a:cxn>
                <a:cxn ang="T69">
                  <a:pos x="T18" y="T19"/>
                </a:cxn>
                <a:cxn ang="T70">
                  <a:pos x="T20" y="T21"/>
                </a:cxn>
                <a:cxn ang="T71">
                  <a:pos x="T22" y="T23"/>
                </a:cxn>
                <a:cxn ang="T72">
                  <a:pos x="T24" y="T25"/>
                </a:cxn>
                <a:cxn ang="T73">
                  <a:pos x="T26" y="T27"/>
                </a:cxn>
                <a:cxn ang="T74">
                  <a:pos x="T28" y="T29"/>
                </a:cxn>
                <a:cxn ang="T75">
                  <a:pos x="T30" y="T31"/>
                </a:cxn>
                <a:cxn ang="T76">
                  <a:pos x="T32" y="T33"/>
                </a:cxn>
                <a:cxn ang="T77">
                  <a:pos x="T34" y="T35"/>
                </a:cxn>
                <a:cxn ang="T78">
                  <a:pos x="T36" y="T37"/>
                </a:cxn>
                <a:cxn ang="T79">
                  <a:pos x="T38" y="T39"/>
                </a:cxn>
                <a:cxn ang="T80">
                  <a:pos x="T40" y="T41"/>
                </a:cxn>
                <a:cxn ang="T81">
                  <a:pos x="T42" y="T43"/>
                </a:cxn>
                <a:cxn ang="T82">
                  <a:pos x="T44" y="T45"/>
                </a:cxn>
                <a:cxn ang="T83">
                  <a:pos x="T46" y="T47"/>
                </a:cxn>
                <a:cxn ang="T84">
                  <a:pos x="T48" y="T49"/>
                </a:cxn>
                <a:cxn ang="T85">
                  <a:pos x="T50" y="T51"/>
                </a:cxn>
                <a:cxn ang="T86">
                  <a:pos x="T52" y="T53"/>
                </a:cxn>
                <a:cxn ang="T87">
                  <a:pos x="T54" y="T55"/>
                </a:cxn>
                <a:cxn ang="T88">
                  <a:pos x="T56" y="T57"/>
                </a:cxn>
                <a:cxn ang="T89">
                  <a:pos x="T58" y="T59"/>
                </a:cxn>
              </a:cxnLst>
              <a:rect l="T90" t="T91" r="T92" b="T93"/>
              <a:pathLst>
                <a:path w="382" h="368">
                  <a:moveTo>
                    <a:pt x="0" y="254"/>
                  </a:moveTo>
                  <a:lnTo>
                    <a:pt x="13" y="304"/>
                  </a:lnTo>
                  <a:lnTo>
                    <a:pt x="62" y="340"/>
                  </a:lnTo>
                  <a:lnTo>
                    <a:pt x="86" y="368"/>
                  </a:lnTo>
                  <a:lnTo>
                    <a:pt x="159" y="338"/>
                  </a:lnTo>
                  <a:lnTo>
                    <a:pt x="191" y="334"/>
                  </a:lnTo>
                  <a:lnTo>
                    <a:pt x="209" y="311"/>
                  </a:lnTo>
                  <a:lnTo>
                    <a:pt x="237" y="201"/>
                  </a:lnTo>
                  <a:lnTo>
                    <a:pt x="269" y="214"/>
                  </a:lnTo>
                  <a:lnTo>
                    <a:pt x="328" y="95"/>
                  </a:lnTo>
                  <a:lnTo>
                    <a:pt x="374" y="120"/>
                  </a:lnTo>
                  <a:lnTo>
                    <a:pt x="382" y="99"/>
                  </a:lnTo>
                  <a:lnTo>
                    <a:pt x="349" y="73"/>
                  </a:lnTo>
                  <a:lnTo>
                    <a:pt x="324" y="76"/>
                  </a:lnTo>
                  <a:lnTo>
                    <a:pt x="315" y="89"/>
                  </a:lnTo>
                  <a:lnTo>
                    <a:pt x="269" y="102"/>
                  </a:lnTo>
                  <a:lnTo>
                    <a:pt x="239" y="135"/>
                  </a:lnTo>
                  <a:lnTo>
                    <a:pt x="230" y="83"/>
                  </a:lnTo>
                  <a:lnTo>
                    <a:pt x="147" y="96"/>
                  </a:lnTo>
                  <a:lnTo>
                    <a:pt x="131" y="0"/>
                  </a:lnTo>
                  <a:lnTo>
                    <a:pt x="119" y="9"/>
                  </a:lnTo>
                  <a:lnTo>
                    <a:pt x="126" y="27"/>
                  </a:lnTo>
                  <a:lnTo>
                    <a:pt x="116" y="111"/>
                  </a:lnTo>
                  <a:lnTo>
                    <a:pt x="56" y="163"/>
                  </a:lnTo>
                  <a:lnTo>
                    <a:pt x="47" y="198"/>
                  </a:lnTo>
                  <a:lnTo>
                    <a:pt x="31" y="189"/>
                  </a:lnTo>
                  <a:lnTo>
                    <a:pt x="25" y="232"/>
                  </a:lnTo>
                  <a:lnTo>
                    <a:pt x="0" y="254"/>
                  </a:lnTo>
                  <a:close/>
                </a:path>
              </a:pathLst>
            </a:custGeom>
            <a:solidFill>
              <a:srgbClr val="FFFF99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9230" name="Freeform 79"/>
            <p:cNvSpPr>
              <a:spLocks/>
            </p:cNvSpPr>
            <p:nvPr/>
          </p:nvSpPr>
          <p:spPr bwMode="auto">
            <a:xfrm>
              <a:off x="6699250" y="3108325"/>
              <a:ext cx="593725" cy="303213"/>
            </a:xfrm>
            <a:custGeom>
              <a:avLst/>
              <a:gdLst>
                <a:gd name="T0" fmla="*/ 0 w 388"/>
                <a:gd name="T1" fmla="*/ 2147483647 h 186"/>
                <a:gd name="T2" fmla="*/ 2147483647 w 388"/>
                <a:gd name="T3" fmla="*/ 2147483647 h 186"/>
                <a:gd name="T4" fmla="*/ 2147483647 w 388"/>
                <a:gd name="T5" fmla="*/ 2147483647 h 186"/>
                <a:gd name="T6" fmla="*/ 2147483647 w 388"/>
                <a:gd name="T7" fmla="*/ 2147483647 h 186"/>
                <a:gd name="T8" fmla="*/ 2147483647 w 388"/>
                <a:gd name="T9" fmla="*/ 2147483647 h 186"/>
                <a:gd name="T10" fmla="*/ 2147483647 w 388"/>
                <a:gd name="T11" fmla="*/ 2147483647 h 186"/>
                <a:gd name="T12" fmla="*/ 2147483647 w 388"/>
                <a:gd name="T13" fmla="*/ 2147483647 h 186"/>
                <a:gd name="T14" fmla="*/ 2147483647 w 388"/>
                <a:gd name="T15" fmla="*/ 2147483647 h 186"/>
                <a:gd name="T16" fmla="*/ 2147483647 w 388"/>
                <a:gd name="T17" fmla="*/ 2147483647 h 186"/>
                <a:gd name="T18" fmla="*/ 2147483647 w 388"/>
                <a:gd name="T19" fmla="*/ 2147483647 h 186"/>
                <a:gd name="T20" fmla="*/ 2147483647 w 388"/>
                <a:gd name="T21" fmla="*/ 2147483647 h 186"/>
                <a:gd name="T22" fmla="*/ 2147483647 w 388"/>
                <a:gd name="T23" fmla="*/ 2147483647 h 186"/>
                <a:gd name="T24" fmla="*/ 2147483647 w 388"/>
                <a:gd name="T25" fmla="*/ 2147483647 h 186"/>
                <a:gd name="T26" fmla="*/ 2147483647 w 388"/>
                <a:gd name="T27" fmla="*/ 2147483647 h 186"/>
                <a:gd name="T28" fmla="*/ 2147483647 w 388"/>
                <a:gd name="T29" fmla="*/ 2147483647 h 186"/>
                <a:gd name="T30" fmla="*/ 2147483647 w 388"/>
                <a:gd name="T31" fmla="*/ 2147483647 h 186"/>
                <a:gd name="T32" fmla="*/ 2147483647 w 388"/>
                <a:gd name="T33" fmla="*/ 2147483647 h 186"/>
                <a:gd name="T34" fmla="*/ 2147483647 w 388"/>
                <a:gd name="T35" fmla="*/ 2147483647 h 186"/>
                <a:gd name="T36" fmla="*/ 2147483647 w 388"/>
                <a:gd name="T37" fmla="*/ 2147483647 h 186"/>
                <a:gd name="T38" fmla="*/ 2147483647 w 388"/>
                <a:gd name="T39" fmla="*/ 2147483647 h 186"/>
                <a:gd name="T40" fmla="*/ 2147483647 w 388"/>
                <a:gd name="T41" fmla="*/ 2147483647 h 186"/>
                <a:gd name="T42" fmla="*/ 2147483647 w 388"/>
                <a:gd name="T43" fmla="*/ 2147483647 h 186"/>
                <a:gd name="T44" fmla="*/ 2147483647 w 388"/>
                <a:gd name="T45" fmla="*/ 2147483647 h 186"/>
                <a:gd name="T46" fmla="*/ 2147483647 w 388"/>
                <a:gd name="T47" fmla="*/ 2147483647 h 186"/>
                <a:gd name="T48" fmla="*/ 2147483647 w 388"/>
                <a:gd name="T49" fmla="*/ 2147483647 h 186"/>
                <a:gd name="T50" fmla="*/ 2147483647 w 388"/>
                <a:gd name="T51" fmla="*/ 2147483647 h 186"/>
                <a:gd name="T52" fmla="*/ 2147483647 w 388"/>
                <a:gd name="T53" fmla="*/ 2147483647 h 186"/>
                <a:gd name="T54" fmla="*/ 2147483647 w 388"/>
                <a:gd name="T55" fmla="*/ 2147483647 h 186"/>
                <a:gd name="T56" fmla="*/ 2147483647 w 388"/>
                <a:gd name="T57" fmla="*/ 2147483647 h 186"/>
                <a:gd name="T58" fmla="*/ 2147483647 w 388"/>
                <a:gd name="T59" fmla="*/ 2147483647 h 186"/>
                <a:gd name="T60" fmla="*/ 2147483647 w 388"/>
                <a:gd name="T61" fmla="*/ 2147483647 h 186"/>
                <a:gd name="T62" fmla="*/ 2147483647 w 388"/>
                <a:gd name="T63" fmla="*/ 2147483647 h 186"/>
                <a:gd name="T64" fmla="*/ 2147483647 w 388"/>
                <a:gd name="T65" fmla="*/ 2147483647 h 186"/>
                <a:gd name="T66" fmla="*/ 2147483647 w 388"/>
                <a:gd name="T67" fmla="*/ 2147483647 h 186"/>
                <a:gd name="T68" fmla="*/ 2147483647 w 388"/>
                <a:gd name="T69" fmla="*/ 2147483647 h 186"/>
                <a:gd name="T70" fmla="*/ 2147483647 w 388"/>
                <a:gd name="T71" fmla="*/ 2147483647 h 186"/>
                <a:gd name="T72" fmla="*/ 2147483647 w 388"/>
                <a:gd name="T73" fmla="*/ 0 h 186"/>
                <a:gd name="T74" fmla="*/ 0 w 388"/>
                <a:gd name="T75" fmla="*/ 2147483647 h 186"/>
                <a:gd name="T76" fmla="*/ 0 w 388"/>
                <a:gd name="T77" fmla="*/ 2147483647 h 186"/>
                <a:gd name="T78" fmla="*/ 0 w 388"/>
                <a:gd name="T79" fmla="*/ 2147483647 h 18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w 388"/>
                <a:gd name="T121" fmla="*/ 0 h 186"/>
                <a:gd name="T122" fmla="*/ 388 w 388"/>
                <a:gd name="T123" fmla="*/ 186 h 186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T120" t="T121" r="T122" b="T123"/>
              <a:pathLst>
                <a:path w="388" h="186">
                  <a:moveTo>
                    <a:pt x="0" y="56"/>
                  </a:moveTo>
                  <a:lnTo>
                    <a:pt x="9" y="108"/>
                  </a:lnTo>
                  <a:lnTo>
                    <a:pt x="39" y="75"/>
                  </a:lnTo>
                  <a:lnTo>
                    <a:pt x="85" y="62"/>
                  </a:lnTo>
                  <a:lnTo>
                    <a:pt x="94" y="49"/>
                  </a:lnTo>
                  <a:lnTo>
                    <a:pt x="119" y="46"/>
                  </a:lnTo>
                  <a:lnTo>
                    <a:pt x="152" y="72"/>
                  </a:lnTo>
                  <a:lnTo>
                    <a:pt x="174" y="78"/>
                  </a:lnTo>
                  <a:lnTo>
                    <a:pt x="215" y="115"/>
                  </a:lnTo>
                  <a:lnTo>
                    <a:pt x="201" y="150"/>
                  </a:lnTo>
                  <a:lnTo>
                    <a:pt x="207" y="167"/>
                  </a:lnTo>
                  <a:lnTo>
                    <a:pt x="224" y="159"/>
                  </a:lnTo>
                  <a:lnTo>
                    <a:pt x="241" y="159"/>
                  </a:lnTo>
                  <a:lnTo>
                    <a:pt x="250" y="171"/>
                  </a:lnTo>
                  <a:lnTo>
                    <a:pt x="269" y="171"/>
                  </a:lnTo>
                  <a:lnTo>
                    <a:pt x="276" y="167"/>
                  </a:lnTo>
                  <a:lnTo>
                    <a:pt x="265" y="134"/>
                  </a:lnTo>
                  <a:lnTo>
                    <a:pt x="262" y="75"/>
                  </a:lnTo>
                  <a:lnTo>
                    <a:pt x="247" y="66"/>
                  </a:lnTo>
                  <a:lnTo>
                    <a:pt x="276" y="40"/>
                  </a:lnTo>
                  <a:lnTo>
                    <a:pt x="278" y="22"/>
                  </a:lnTo>
                  <a:lnTo>
                    <a:pt x="297" y="24"/>
                  </a:lnTo>
                  <a:lnTo>
                    <a:pt x="273" y="60"/>
                  </a:lnTo>
                  <a:lnTo>
                    <a:pt x="287" y="105"/>
                  </a:lnTo>
                  <a:lnTo>
                    <a:pt x="293" y="116"/>
                  </a:lnTo>
                  <a:lnTo>
                    <a:pt x="302" y="122"/>
                  </a:lnTo>
                  <a:lnTo>
                    <a:pt x="284" y="121"/>
                  </a:lnTo>
                  <a:lnTo>
                    <a:pt x="290" y="149"/>
                  </a:lnTo>
                  <a:lnTo>
                    <a:pt x="321" y="167"/>
                  </a:lnTo>
                  <a:lnTo>
                    <a:pt x="328" y="171"/>
                  </a:lnTo>
                  <a:lnTo>
                    <a:pt x="337" y="171"/>
                  </a:lnTo>
                  <a:lnTo>
                    <a:pt x="333" y="186"/>
                  </a:lnTo>
                  <a:lnTo>
                    <a:pt x="371" y="167"/>
                  </a:lnTo>
                  <a:lnTo>
                    <a:pt x="379" y="143"/>
                  </a:lnTo>
                  <a:lnTo>
                    <a:pt x="388" y="118"/>
                  </a:lnTo>
                  <a:lnTo>
                    <a:pt x="333" y="130"/>
                  </a:lnTo>
                  <a:lnTo>
                    <a:pt x="297" y="0"/>
                  </a:lnTo>
                  <a:lnTo>
                    <a:pt x="0" y="56"/>
                  </a:lnTo>
                  <a:close/>
                </a:path>
              </a:pathLst>
            </a:custGeom>
            <a:solidFill>
              <a:srgbClr val="FFFF99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9231" name="Freeform 80">
              <a:hlinkClick r:id="rId15"/>
            </p:cNvPr>
            <p:cNvSpPr>
              <a:spLocks/>
            </p:cNvSpPr>
            <p:nvPr/>
          </p:nvSpPr>
          <p:spPr bwMode="auto">
            <a:xfrm>
              <a:off x="6196013" y="3648075"/>
              <a:ext cx="1111250" cy="515938"/>
            </a:xfrm>
            <a:custGeom>
              <a:avLst/>
              <a:gdLst>
                <a:gd name="T0" fmla="*/ 0 w 728"/>
                <a:gd name="T1" fmla="*/ 2147483647 h 316"/>
                <a:gd name="T2" fmla="*/ 2147483647 w 728"/>
                <a:gd name="T3" fmla="*/ 2147483647 h 316"/>
                <a:gd name="T4" fmla="*/ 2147483647 w 728"/>
                <a:gd name="T5" fmla="*/ 2147483647 h 316"/>
                <a:gd name="T6" fmla="*/ 2147483647 w 728"/>
                <a:gd name="T7" fmla="*/ 2147483647 h 316"/>
                <a:gd name="T8" fmla="*/ 2147483647 w 728"/>
                <a:gd name="T9" fmla="*/ 2147483647 h 316"/>
                <a:gd name="T10" fmla="*/ 2147483647 w 728"/>
                <a:gd name="T11" fmla="*/ 2147483647 h 316"/>
                <a:gd name="T12" fmla="*/ 2147483647 w 728"/>
                <a:gd name="T13" fmla="*/ 2147483647 h 316"/>
                <a:gd name="T14" fmla="*/ 2147483647 w 728"/>
                <a:gd name="T15" fmla="*/ 2147483647 h 316"/>
                <a:gd name="T16" fmla="*/ 2147483647 w 728"/>
                <a:gd name="T17" fmla="*/ 2147483647 h 316"/>
                <a:gd name="T18" fmla="*/ 2147483647 w 728"/>
                <a:gd name="T19" fmla="*/ 2147483647 h 316"/>
                <a:gd name="T20" fmla="*/ 2147483647 w 728"/>
                <a:gd name="T21" fmla="*/ 2147483647 h 316"/>
                <a:gd name="T22" fmla="*/ 2147483647 w 728"/>
                <a:gd name="T23" fmla="*/ 2147483647 h 316"/>
                <a:gd name="T24" fmla="*/ 2147483647 w 728"/>
                <a:gd name="T25" fmla="*/ 2147483647 h 316"/>
                <a:gd name="T26" fmla="*/ 2147483647 w 728"/>
                <a:gd name="T27" fmla="*/ 2147483647 h 316"/>
                <a:gd name="T28" fmla="*/ 2147483647 w 728"/>
                <a:gd name="T29" fmla="*/ 2147483647 h 316"/>
                <a:gd name="T30" fmla="*/ 2147483647 w 728"/>
                <a:gd name="T31" fmla="*/ 2147483647 h 316"/>
                <a:gd name="T32" fmla="*/ 2147483647 w 728"/>
                <a:gd name="T33" fmla="*/ 2147483647 h 316"/>
                <a:gd name="T34" fmla="*/ 2147483647 w 728"/>
                <a:gd name="T35" fmla="*/ 2147483647 h 316"/>
                <a:gd name="T36" fmla="*/ 2147483647 w 728"/>
                <a:gd name="T37" fmla="*/ 2147483647 h 316"/>
                <a:gd name="T38" fmla="*/ 2147483647 w 728"/>
                <a:gd name="T39" fmla="*/ 2147483647 h 316"/>
                <a:gd name="T40" fmla="*/ 2147483647 w 728"/>
                <a:gd name="T41" fmla="*/ 2147483647 h 316"/>
                <a:gd name="T42" fmla="*/ 2147483647 w 728"/>
                <a:gd name="T43" fmla="*/ 2147483647 h 316"/>
                <a:gd name="T44" fmla="*/ 2147483647 w 728"/>
                <a:gd name="T45" fmla="*/ 2147483647 h 316"/>
                <a:gd name="T46" fmla="*/ 2147483647 w 728"/>
                <a:gd name="T47" fmla="*/ 2147483647 h 316"/>
                <a:gd name="T48" fmla="*/ 2147483647 w 728"/>
                <a:gd name="T49" fmla="*/ 2147483647 h 316"/>
                <a:gd name="T50" fmla="*/ 2147483647 w 728"/>
                <a:gd name="T51" fmla="*/ 2147483647 h 316"/>
                <a:gd name="T52" fmla="*/ 2147483647 w 728"/>
                <a:gd name="T53" fmla="*/ 2147483647 h 316"/>
                <a:gd name="T54" fmla="*/ 2147483647 w 728"/>
                <a:gd name="T55" fmla="*/ 0 h 316"/>
                <a:gd name="T56" fmla="*/ 2147483647 w 728"/>
                <a:gd name="T57" fmla="*/ 2147483647 h 316"/>
                <a:gd name="T58" fmla="*/ 2147483647 w 728"/>
                <a:gd name="T59" fmla="*/ 2147483647 h 316"/>
                <a:gd name="T60" fmla="*/ 2147483647 w 728"/>
                <a:gd name="T61" fmla="*/ 2147483647 h 316"/>
                <a:gd name="T62" fmla="*/ 2147483647 w 728"/>
                <a:gd name="T63" fmla="*/ 2147483647 h 316"/>
                <a:gd name="T64" fmla="*/ 2147483647 w 728"/>
                <a:gd name="T65" fmla="*/ 2147483647 h 316"/>
                <a:gd name="T66" fmla="*/ 2147483647 w 728"/>
                <a:gd name="T67" fmla="*/ 2147483647 h 316"/>
                <a:gd name="T68" fmla="*/ 2147483647 w 728"/>
                <a:gd name="T69" fmla="*/ 2147483647 h 316"/>
                <a:gd name="T70" fmla="*/ 0 w 728"/>
                <a:gd name="T71" fmla="*/ 2147483647 h 316"/>
                <a:gd name="T72" fmla="*/ 0 w 728"/>
                <a:gd name="T73" fmla="*/ 2147483647 h 316"/>
                <a:gd name="T74" fmla="*/ 0 w 728"/>
                <a:gd name="T75" fmla="*/ 2147483647 h 31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728"/>
                <a:gd name="T115" fmla="*/ 0 h 316"/>
                <a:gd name="T116" fmla="*/ 728 w 728"/>
                <a:gd name="T117" fmla="*/ 316 h 316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728" h="316">
                  <a:moveTo>
                    <a:pt x="0" y="271"/>
                  </a:moveTo>
                  <a:lnTo>
                    <a:pt x="106" y="258"/>
                  </a:lnTo>
                  <a:lnTo>
                    <a:pt x="167" y="229"/>
                  </a:lnTo>
                  <a:lnTo>
                    <a:pt x="283" y="217"/>
                  </a:lnTo>
                  <a:lnTo>
                    <a:pt x="330" y="246"/>
                  </a:lnTo>
                  <a:lnTo>
                    <a:pt x="406" y="236"/>
                  </a:lnTo>
                  <a:lnTo>
                    <a:pt x="520" y="316"/>
                  </a:lnTo>
                  <a:lnTo>
                    <a:pt x="565" y="305"/>
                  </a:lnTo>
                  <a:lnTo>
                    <a:pt x="629" y="214"/>
                  </a:lnTo>
                  <a:lnTo>
                    <a:pt x="681" y="195"/>
                  </a:lnTo>
                  <a:lnTo>
                    <a:pt x="697" y="168"/>
                  </a:lnTo>
                  <a:lnTo>
                    <a:pt x="641" y="179"/>
                  </a:lnTo>
                  <a:lnTo>
                    <a:pt x="626" y="159"/>
                  </a:lnTo>
                  <a:lnTo>
                    <a:pt x="660" y="151"/>
                  </a:lnTo>
                  <a:lnTo>
                    <a:pt x="660" y="139"/>
                  </a:lnTo>
                  <a:lnTo>
                    <a:pt x="621" y="126"/>
                  </a:lnTo>
                  <a:lnTo>
                    <a:pt x="670" y="108"/>
                  </a:lnTo>
                  <a:lnTo>
                    <a:pt x="667" y="127"/>
                  </a:lnTo>
                  <a:lnTo>
                    <a:pt x="699" y="127"/>
                  </a:lnTo>
                  <a:lnTo>
                    <a:pt x="716" y="95"/>
                  </a:lnTo>
                  <a:lnTo>
                    <a:pt x="728" y="93"/>
                  </a:lnTo>
                  <a:lnTo>
                    <a:pt x="721" y="64"/>
                  </a:lnTo>
                  <a:lnTo>
                    <a:pt x="699" y="93"/>
                  </a:lnTo>
                  <a:lnTo>
                    <a:pt x="676" y="28"/>
                  </a:lnTo>
                  <a:lnTo>
                    <a:pt x="691" y="25"/>
                  </a:lnTo>
                  <a:lnTo>
                    <a:pt x="712" y="43"/>
                  </a:lnTo>
                  <a:lnTo>
                    <a:pt x="697" y="13"/>
                  </a:lnTo>
                  <a:lnTo>
                    <a:pt x="681" y="0"/>
                  </a:lnTo>
                  <a:lnTo>
                    <a:pt x="422" y="49"/>
                  </a:lnTo>
                  <a:lnTo>
                    <a:pt x="207" y="75"/>
                  </a:lnTo>
                  <a:lnTo>
                    <a:pt x="177" y="133"/>
                  </a:lnTo>
                  <a:lnTo>
                    <a:pt x="131" y="143"/>
                  </a:lnTo>
                  <a:lnTo>
                    <a:pt x="109" y="173"/>
                  </a:lnTo>
                  <a:lnTo>
                    <a:pt x="26" y="220"/>
                  </a:lnTo>
                  <a:lnTo>
                    <a:pt x="21" y="238"/>
                  </a:lnTo>
                  <a:lnTo>
                    <a:pt x="0" y="248"/>
                  </a:lnTo>
                  <a:lnTo>
                    <a:pt x="0" y="271"/>
                  </a:lnTo>
                  <a:close/>
                </a:path>
              </a:pathLst>
            </a:custGeom>
            <a:solidFill>
              <a:srgbClr val="FAA4E3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9232" name="Freeform 81">
              <a:hlinkClick r:id="rId15"/>
            </p:cNvPr>
            <p:cNvSpPr>
              <a:spLocks/>
            </p:cNvSpPr>
            <p:nvPr/>
          </p:nvSpPr>
          <p:spPr bwMode="auto">
            <a:xfrm>
              <a:off x="6248400" y="3956050"/>
              <a:ext cx="685800" cy="600075"/>
            </a:xfrm>
            <a:custGeom>
              <a:avLst/>
              <a:gdLst>
                <a:gd name="T0" fmla="*/ 2147483647 w 434"/>
                <a:gd name="T1" fmla="*/ 2147483647 h 320"/>
                <a:gd name="T2" fmla="*/ 2147483647 w 434"/>
                <a:gd name="T3" fmla="*/ 2147483647 h 320"/>
                <a:gd name="T4" fmla="*/ 2147483647 w 434"/>
                <a:gd name="T5" fmla="*/ 0 h 320"/>
                <a:gd name="T6" fmla="*/ 2147483647 w 434"/>
                <a:gd name="T7" fmla="*/ 2147483647 h 320"/>
                <a:gd name="T8" fmla="*/ 2147483647 w 434"/>
                <a:gd name="T9" fmla="*/ 2147483647 h 320"/>
                <a:gd name="T10" fmla="*/ 2147483647 w 434"/>
                <a:gd name="T11" fmla="*/ 2147483647 h 320"/>
                <a:gd name="T12" fmla="*/ 2147483647 w 434"/>
                <a:gd name="T13" fmla="*/ 2147483647 h 320"/>
                <a:gd name="T14" fmla="*/ 2147483647 w 434"/>
                <a:gd name="T15" fmla="*/ 2147483647 h 320"/>
                <a:gd name="T16" fmla="*/ 2147483647 w 434"/>
                <a:gd name="T17" fmla="*/ 2147483647 h 320"/>
                <a:gd name="T18" fmla="*/ 2147483647 w 434"/>
                <a:gd name="T19" fmla="*/ 2147483647 h 320"/>
                <a:gd name="T20" fmla="*/ 2147483647 w 434"/>
                <a:gd name="T21" fmla="*/ 2147483647 h 320"/>
                <a:gd name="T22" fmla="*/ 2147483647 w 434"/>
                <a:gd name="T23" fmla="*/ 2147483647 h 320"/>
                <a:gd name="T24" fmla="*/ 2147483647 w 434"/>
                <a:gd name="T25" fmla="*/ 2147483647 h 320"/>
                <a:gd name="T26" fmla="*/ 2147483647 w 434"/>
                <a:gd name="T27" fmla="*/ 2147483647 h 320"/>
                <a:gd name="T28" fmla="*/ 2147483647 w 434"/>
                <a:gd name="T29" fmla="*/ 2147483647 h 320"/>
                <a:gd name="T30" fmla="*/ 2147483647 w 434"/>
                <a:gd name="T31" fmla="*/ 2147483647 h 320"/>
                <a:gd name="T32" fmla="*/ 2147483647 w 434"/>
                <a:gd name="T33" fmla="*/ 2147483647 h 320"/>
                <a:gd name="T34" fmla="*/ 0 w 434"/>
                <a:gd name="T35" fmla="*/ 2147483647 h 320"/>
                <a:gd name="T36" fmla="*/ 2147483647 w 434"/>
                <a:gd name="T37" fmla="*/ 2147483647 h 320"/>
                <a:gd name="T38" fmla="*/ 2147483647 w 434"/>
                <a:gd name="T39" fmla="*/ 2147483647 h 320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w 434"/>
                <a:gd name="T61" fmla="*/ 0 h 320"/>
                <a:gd name="T62" fmla="*/ 434 w 434"/>
                <a:gd name="T63" fmla="*/ 320 h 320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T60" t="T61" r="T62" b="T63"/>
              <a:pathLst>
                <a:path w="434" h="320">
                  <a:moveTo>
                    <a:pt x="20" y="41"/>
                  </a:moveTo>
                  <a:lnTo>
                    <a:pt x="81" y="12"/>
                  </a:lnTo>
                  <a:lnTo>
                    <a:pt x="197" y="0"/>
                  </a:lnTo>
                  <a:lnTo>
                    <a:pt x="244" y="29"/>
                  </a:lnTo>
                  <a:lnTo>
                    <a:pt x="320" y="19"/>
                  </a:lnTo>
                  <a:lnTo>
                    <a:pt x="434" y="99"/>
                  </a:lnTo>
                  <a:lnTo>
                    <a:pt x="384" y="159"/>
                  </a:lnTo>
                  <a:lnTo>
                    <a:pt x="387" y="186"/>
                  </a:lnTo>
                  <a:lnTo>
                    <a:pt x="301" y="264"/>
                  </a:lnTo>
                  <a:lnTo>
                    <a:pt x="286" y="267"/>
                  </a:lnTo>
                  <a:lnTo>
                    <a:pt x="280" y="290"/>
                  </a:lnTo>
                  <a:lnTo>
                    <a:pt x="260" y="277"/>
                  </a:lnTo>
                  <a:lnTo>
                    <a:pt x="277" y="299"/>
                  </a:lnTo>
                  <a:lnTo>
                    <a:pt x="260" y="320"/>
                  </a:lnTo>
                  <a:lnTo>
                    <a:pt x="246" y="317"/>
                  </a:lnTo>
                  <a:lnTo>
                    <a:pt x="186" y="226"/>
                  </a:lnTo>
                  <a:lnTo>
                    <a:pt x="57" y="111"/>
                  </a:lnTo>
                  <a:lnTo>
                    <a:pt x="0" y="75"/>
                  </a:lnTo>
                  <a:lnTo>
                    <a:pt x="20" y="41"/>
                  </a:lnTo>
                  <a:close/>
                </a:path>
              </a:pathLst>
            </a:custGeom>
            <a:solidFill>
              <a:srgbClr val="FAA4E3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9233" name="Freeform 82">
              <a:hlinkClick r:id="rId11"/>
            </p:cNvPr>
            <p:cNvSpPr>
              <a:spLocks/>
            </p:cNvSpPr>
            <p:nvPr/>
          </p:nvSpPr>
          <p:spPr bwMode="auto">
            <a:xfrm>
              <a:off x="7148513" y="3086100"/>
              <a:ext cx="139700" cy="234950"/>
            </a:xfrm>
            <a:custGeom>
              <a:avLst/>
              <a:gdLst>
                <a:gd name="T0" fmla="*/ 0 w 91"/>
                <a:gd name="T1" fmla="*/ 2147483647 h 143"/>
                <a:gd name="T2" fmla="*/ 2147483647 w 91"/>
                <a:gd name="T3" fmla="*/ 0 h 143"/>
                <a:gd name="T4" fmla="*/ 2147483647 w 91"/>
                <a:gd name="T5" fmla="*/ 0 h 143"/>
                <a:gd name="T6" fmla="*/ 2147483647 w 91"/>
                <a:gd name="T7" fmla="*/ 2147483647 h 143"/>
                <a:gd name="T8" fmla="*/ 2147483647 w 91"/>
                <a:gd name="T9" fmla="*/ 2147483647 h 143"/>
                <a:gd name="T10" fmla="*/ 2147483647 w 91"/>
                <a:gd name="T11" fmla="*/ 2147483647 h 143"/>
                <a:gd name="T12" fmla="*/ 2147483647 w 91"/>
                <a:gd name="T13" fmla="*/ 2147483647 h 143"/>
                <a:gd name="T14" fmla="*/ 2147483647 w 91"/>
                <a:gd name="T15" fmla="*/ 2147483647 h 143"/>
                <a:gd name="T16" fmla="*/ 2147483647 w 91"/>
                <a:gd name="T17" fmla="*/ 2147483647 h 143"/>
                <a:gd name="T18" fmla="*/ 2147483647 w 91"/>
                <a:gd name="T19" fmla="*/ 2147483647 h 143"/>
                <a:gd name="T20" fmla="*/ 2147483647 w 91"/>
                <a:gd name="T21" fmla="*/ 2147483647 h 143"/>
                <a:gd name="T22" fmla="*/ 2147483647 w 91"/>
                <a:gd name="T23" fmla="*/ 2147483647 h 143"/>
                <a:gd name="T24" fmla="*/ 2147483647 w 91"/>
                <a:gd name="T25" fmla="*/ 2147483647 h 143"/>
                <a:gd name="T26" fmla="*/ 2147483647 w 91"/>
                <a:gd name="T27" fmla="*/ 2147483647 h 143"/>
                <a:gd name="T28" fmla="*/ 2147483647 w 91"/>
                <a:gd name="T29" fmla="*/ 2147483647 h 143"/>
                <a:gd name="T30" fmla="*/ 0 w 91"/>
                <a:gd name="T31" fmla="*/ 2147483647 h 143"/>
                <a:gd name="T32" fmla="*/ 0 w 91"/>
                <a:gd name="T33" fmla="*/ 2147483647 h 143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w 91"/>
                <a:gd name="T52" fmla="*/ 0 h 143"/>
                <a:gd name="T53" fmla="*/ 91 w 91"/>
                <a:gd name="T54" fmla="*/ 143 h 143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T51" t="T52" r="T53" b="T54"/>
              <a:pathLst>
                <a:path w="91" h="143">
                  <a:moveTo>
                    <a:pt x="0" y="13"/>
                  </a:moveTo>
                  <a:lnTo>
                    <a:pt x="14" y="0"/>
                  </a:lnTo>
                  <a:lnTo>
                    <a:pt x="30" y="0"/>
                  </a:lnTo>
                  <a:lnTo>
                    <a:pt x="24" y="14"/>
                  </a:lnTo>
                  <a:lnTo>
                    <a:pt x="20" y="19"/>
                  </a:lnTo>
                  <a:lnTo>
                    <a:pt x="24" y="35"/>
                  </a:lnTo>
                  <a:lnTo>
                    <a:pt x="45" y="57"/>
                  </a:lnTo>
                  <a:lnTo>
                    <a:pt x="49" y="75"/>
                  </a:lnTo>
                  <a:lnTo>
                    <a:pt x="67" y="94"/>
                  </a:lnTo>
                  <a:lnTo>
                    <a:pt x="80" y="98"/>
                  </a:lnTo>
                  <a:lnTo>
                    <a:pt x="86" y="112"/>
                  </a:lnTo>
                  <a:lnTo>
                    <a:pt x="74" y="122"/>
                  </a:lnTo>
                  <a:lnTo>
                    <a:pt x="88" y="121"/>
                  </a:lnTo>
                  <a:lnTo>
                    <a:pt x="91" y="131"/>
                  </a:lnTo>
                  <a:lnTo>
                    <a:pt x="36" y="143"/>
                  </a:lnTo>
                  <a:lnTo>
                    <a:pt x="0" y="13"/>
                  </a:lnTo>
                  <a:close/>
                </a:path>
              </a:pathLst>
            </a:custGeom>
            <a:solidFill>
              <a:srgbClr val="FFFF99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9234" name="Freeform 83"/>
            <p:cNvSpPr>
              <a:spLocks/>
            </p:cNvSpPr>
            <p:nvPr/>
          </p:nvSpPr>
          <p:spPr bwMode="auto">
            <a:xfrm>
              <a:off x="6515100" y="2716213"/>
              <a:ext cx="758825" cy="504825"/>
            </a:xfrm>
            <a:custGeom>
              <a:avLst/>
              <a:gdLst>
                <a:gd name="T0" fmla="*/ 2147483647 w 496"/>
                <a:gd name="T1" fmla="*/ 2147483647 h 308"/>
                <a:gd name="T2" fmla="*/ 2147483647 w 496"/>
                <a:gd name="T3" fmla="*/ 2147483647 h 308"/>
                <a:gd name="T4" fmla="*/ 2147483647 w 496"/>
                <a:gd name="T5" fmla="*/ 2147483647 h 308"/>
                <a:gd name="T6" fmla="*/ 2147483647 w 496"/>
                <a:gd name="T7" fmla="*/ 2147483647 h 308"/>
                <a:gd name="T8" fmla="*/ 2147483647 w 496"/>
                <a:gd name="T9" fmla="*/ 2147483647 h 308"/>
                <a:gd name="T10" fmla="*/ 2147483647 w 496"/>
                <a:gd name="T11" fmla="*/ 2147483647 h 308"/>
                <a:gd name="T12" fmla="*/ 2147483647 w 496"/>
                <a:gd name="T13" fmla="*/ 2147483647 h 308"/>
                <a:gd name="T14" fmla="*/ 2147483647 w 496"/>
                <a:gd name="T15" fmla="*/ 2147483647 h 308"/>
                <a:gd name="T16" fmla="*/ 2147483647 w 496"/>
                <a:gd name="T17" fmla="*/ 2147483647 h 308"/>
                <a:gd name="T18" fmla="*/ 2147483647 w 496"/>
                <a:gd name="T19" fmla="*/ 2147483647 h 308"/>
                <a:gd name="T20" fmla="*/ 2147483647 w 496"/>
                <a:gd name="T21" fmla="*/ 2147483647 h 308"/>
                <a:gd name="T22" fmla="*/ 2147483647 w 496"/>
                <a:gd name="T23" fmla="*/ 0 h 308"/>
                <a:gd name="T24" fmla="*/ 2147483647 w 496"/>
                <a:gd name="T25" fmla="*/ 2147483647 h 308"/>
                <a:gd name="T26" fmla="*/ 2147483647 w 496"/>
                <a:gd name="T27" fmla="*/ 2147483647 h 308"/>
                <a:gd name="T28" fmla="*/ 0 w 496"/>
                <a:gd name="T29" fmla="*/ 2147483647 h 308"/>
                <a:gd name="T30" fmla="*/ 2147483647 w 496"/>
                <a:gd name="T31" fmla="*/ 2147483647 h 308"/>
                <a:gd name="T32" fmla="*/ 2147483647 w 496"/>
                <a:gd name="T33" fmla="*/ 2147483647 h 308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w 496"/>
                <a:gd name="T52" fmla="*/ 0 h 308"/>
                <a:gd name="T53" fmla="*/ 496 w 496"/>
                <a:gd name="T54" fmla="*/ 308 h 308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T51" t="T52" r="T53" b="T54"/>
              <a:pathLst>
                <a:path w="496" h="308">
                  <a:moveTo>
                    <a:pt x="39" y="308"/>
                  </a:moveTo>
                  <a:lnTo>
                    <a:pt x="122" y="295"/>
                  </a:lnTo>
                  <a:lnTo>
                    <a:pt x="419" y="239"/>
                  </a:lnTo>
                  <a:lnTo>
                    <a:pt x="433" y="226"/>
                  </a:lnTo>
                  <a:lnTo>
                    <a:pt x="449" y="226"/>
                  </a:lnTo>
                  <a:lnTo>
                    <a:pt x="468" y="212"/>
                  </a:lnTo>
                  <a:lnTo>
                    <a:pt x="496" y="177"/>
                  </a:lnTo>
                  <a:lnTo>
                    <a:pt x="447" y="139"/>
                  </a:lnTo>
                  <a:lnTo>
                    <a:pt x="446" y="103"/>
                  </a:lnTo>
                  <a:lnTo>
                    <a:pt x="468" y="53"/>
                  </a:lnTo>
                  <a:lnTo>
                    <a:pt x="436" y="37"/>
                  </a:lnTo>
                  <a:lnTo>
                    <a:pt x="400" y="0"/>
                  </a:lnTo>
                  <a:lnTo>
                    <a:pt x="70" y="61"/>
                  </a:lnTo>
                  <a:lnTo>
                    <a:pt x="54" y="37"/>
                  </a:lnTo>
                  <a:lnTo>
                    <a:pt x="0" y="75"/>
                  </a:lnTo>
                  <a:lnTo>
                    <a:pt x="39" y="308"/>
                  </a:lnTo>
                  <a:close/>
                </a:path>
              </a:pathLst>
            </a:custGeom>
            <a:solidFill>
              <a:srgbClr val="FFFF99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9235" name="Freeform 84"/>
            <p:cNvSpPr>
              <a:spLocks/>
            </p:cNvSpPr>
            <p:nvPr/>
          </p:nvSpPr>
          <p:spPr bwMode="auto">
            <a:xfrm>
              <a:off x="7162800" y="2803525"/>
              <a:ext cx="165100" cy="411163"/>
            </a:xfrm>
            <a:custGeom>
              <a:avLst/>
              <a:gdLst>
                <a:gd name="T0" fmla="*/ 2147483647 w 107"/>
                <a:gd name="T1" fmla="*/ 2147483647 h 252"/>
                <a:gd name="T2" fmla="*/ 2147483647 w 107"/>
                <a:gd name="T3" fmla="*/ 2147483647 h 252"/>
                <a:gd name="T4" fmla="*/ 2147483647 w 107"/>
                <a:gd name="T5" fmla="*/ 2147483647 h 252"/>
                <a:gd name="T6" fmla="*/ 2147483647 w 107"/>
                <a:gd name="T7" fmla="*/ 2147483647 h 252"/>
                <a:gd name="T8" fmla="*/ 2147483647 w 107"/>
                <a:gd name="T9" fmla="*/ 2147483647 h 252"/>
                <a:gd name="T10" fmla="*/ 2147483647 w 107"/>
                <a:gd name="T11" fmla="*/ 0 h 252"/>
                <a:gd name="T12" fmla="*/ 2147483647 w 107"/>
                <a:gd name="T13" fmla="*/ 2147483647 h 252"/>
                <a:gd name="T14" fmla="*/ 2147483647 w 107"/>
                <a:gd name="T15" fmla="*/ 2147483647 h 252"/>
                <a:gd name="T16" fmla="*/ 2147483647 w 107"/>
                <a:gd name="T17" fmla="*/ 2147483647 h 252"/>
                <a:gd name="T18" fmla="*/ 2147483647 w 107"/>
                <a:gd name="T19" fmla="*/ 2147483647 h 252"/>
                <a:gd name="T20" fmla="*/ 2147483647 w 107"/>
                <a:gd name="T21" fmla="*/ 2147483647 h 252"/>
                <a:gd name="T22" fmla="*/ 2147483647 w 107"/>
                <a:gd name="T23" fmla="*/ 2147483647 h 252"/>
                <a:gd name="T24" fmla="*/ 2147483647 w 107"/>
                <a:gd name="T25" fmla="*/ 2147483647 h 252"/>
                <a:gd name="T26" fmla="*/ 2147483647 w 107"/>
                <a:gd name="T27" fmla="*/ 2147483647 h 252"/>
                <a:gd name="T28" fmla="*/ 2147483647 w 107"/>
                <a:gd name="T29" fmla="*/ 2147483647 h 252"/>
                <a:gd name="T30" fmla="*/ 2147483647 w 107"/>
                <a:gd name="T31" fmla="*/ 2147483647 h 252"/>
                <a:gd name="T32" fmla="*/ 2147483647 w 107"/>
                <a:gd name="T33" fmla="*/ 2147483647 h 252"/>
                <a:gd name="T34" fmla="*/ 2147483647 w 107"/>
                <a:gd name="T35" fmla="*/ 2147483647 h 252"/>
                <a:gd name="T36" fmla="*/ 2147483647 w 107"/>
                <a:gd name="T37" fmla="*/ 2147483647 h 252"/>
                <a:gd name="T38" fmla="*/ 2147483647 w 107"/>
                <a:gd name="T39" fmla="*/ 2147483647 h 252"/>
                <a:gd name="T40" fmla="*/ 2147483647 w 107"/>
                <a:gd name="T41" fmla="*/ 2147483647 h 252"/>
                <a:gd name="T42" fmla="*/ 2147483647 w 107"/>
                <a:gd name="T43" fmla="*/ 2147483647 h 252"/>
                <a:gd name="T44" fmla="*/ 2147483647 w 107"/>
                <a:gd name="T45" fmla="*/ 2147483647 h 252"/>
                <a:gd name="T46" fmla="*/ 2147483647 w 107"/>
                <a:gd name="T47" fmla="*/ 2147483647 h 252"/>
                <a:gd name="T48" fmla="*/ 0 w 107"/>
                <a:gd name="T49" fmla="*/ 2147483647 h 252"/>
                <a:gd name="T50" fmla="*/ 2147483647 w 107"/>
                <a:gd name="T51" fmla="*/ 2147483647 h 252"/>
                <a:gd name="T52" fmla="*/ 2147483647 w 107"/>
                <a:gd name="T53" fmla="*/ 2147483647 h 252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w 107"/>
                <a:gd name="T82" fmla="*/ 0 h 252"/>
                <a:gd name="T83" fmla="*/ 107 w 107"/>
                <a:gd name="T84" fmla="*/ 252 h 252"/>
              </a:gdLst>
              <a:ahLst/>
              <a:cxnLst>
                <a:cxn ang="T54">
                  <a:pos x="T0" y="T1"/>
                </a:cxn>
                <a:cxn ang="T55">
                  <a:pos x="T2" y="T3"/>
                </a:cxn>
                <a:cxn ang="T56">
                  <a:pos x="T4" y="T5"/>
                </a:cxn>
                <a:cxn ang="T57">
                  <a:pos x="T6" y="T7"/>
                </a:cxn>
                <a:cxn ang="T58">
                  <a:pos x="T8" y="T9"/>
                </a:cxn>
                <a:cxn ang="T59">
                  <a:pos x="T10" y="T11"/>
                </a:cxn>
                <a:cxn ang="T60">
                  <a:pos x="T12" y="T13"/>
                </a:cxn>
                <a:cxn ang="T61">
                  <a:pos x="T14" y="T15"/>
                </a:cxn>
                <a:cxn ang="T62">
                  <a:pos x="T16" y="T17"/>
                </a:cxn>
                <a:cxn ang="T63">
                  <a:pos x="T18" y="T19"/>
                </a:cxn>
                <a:cxn ang="T64">
                  <a:pos x="T20" y="T21"/>
                </a:cxn>
                <a:cxn ang="T65">
                  <a:pos x="T22" y="T23"/>
                </a:cxn>
                <a:cxn ang="T66">
                  <a:pos x="T24" y="T25"/>
                </a:cxn>
                <a:cxn ang="T67">
                  <a:pos x="T26" y="T27"/>
                </a:cxn>
                <a:cxn ang="T68">
                  <a:pos x="T28" y="T29"/>
                </a:cxn>
                <a:cxn ang="T69">
                  <a:pos x="T30" y="T31"/>
                </a:cxn>
                <a:cxn ang="T70">
                  <a:pos x="T32" y="T33"/>
                </a:cxn>
                <a:cxn ang="T71">
                  <a:pos x="T34" y="T35"/>
                </a:cxn>
                <a:cxn ang="T72">
                  <a:pos x="T36" y="T37"/>
                </a:cxn>
                <a:cxn ang="T73">
                  <a:pos x="T38" y="T39"/>
                </a:cxn>
                <a:cxn ang="T74">
                  <a:pos x="T40" y="T41"/>
                </a:cxn>
                <a:cxn ang="T75">
                  <a:pos x="T42" y="T43"/>
                </a:cxn>
                <a:cxn ang="T76">
                  <a:pos x="T44" y="T45"/>
                </a:cxn>
                <a:cxn ang="T77">
                  <a:pos x="T46" y="T47"/>
                </a:cxn>
                <a:cxn ang="T78">
                  <a:pos x="T48" y="T49"/>
                </a:cxn>
                <a:cxn ang="T79">
                  <a:pos x="T50" y="T51"/>
                </a:cxn>
                <a:cxn ang="T80">
                  <a:pos x="T52" y="T53"/>
                </a:cxn>
              </a:cxnLst>
              <a:rect l="T81" t="T82" r="T83" b="T84"/>
              <a:pathLst>
                <a:path w="107" h="252">
                  <a:moveTo>
                    <a:pt x="6" y="173"/>
                  </a:moveTo>
                  <a:lnTo>
                    <a:pt x="25" y="159"/>
                  </a:lnTo>
                  <a:lnTo>
                    <a:pt x="53" y="124"/>
                  </a:lnTo>
                  <a:lnTo>
                    <a:pt x="4" y="86"/>
                  </a:lnTo>
                  <a:lnTo>
                    <a:pt x="3" y="50"/>
                  </a:lnTo>
                  <a:lnTo>
                    <a:pt x="25" y="0"/>
                  </a:lnTo>
                  <a:lnTo>
                    <a:pt x="98" y="25"/>
                  </a:lnTo>
                  <a:lnTo>
                    <a:pt x="99" y="34"/>
                  </a:lnTo>
                  <a:lnTo>
                    <a:pt x="91" y="62"/>
                  </a:lnTo>
                  <a:lnTo>
                    <a:pt x="83" y="68"/>
                  </a:lnTo>
                  <a:lnTo>
                    <a:pt x="82" y="83"/>
                  </a:lnTo>
                  <a:lnTo>
                    <a:pt x="89" y="87"/>
                  </a:lnTo>
                  <a:lnTo>
                    <a:pt x="107" y="83"/>
                  </a:lnTo>
                  <a:lnTo>
                    <a:pt x="107" y="125"/>
                  </a:lnTo>
                  <a:lnTo>
                    <a:pt x="107" y="152"/>
                  </a:lnTo>
                  <a:lnTo>
                    <a:pt x="107" y="167"/>
                  </a:lnTo>
                  <a:lnTo>
                    <a:pt x="101" y="180"/>
                  </a:lnTo>
                  <a:lnTo>
                    <a:pt x="94" y="182"/>
                  </a:lnTo>
                  <a:lnTo>
                    <a:pt x="97" y="193"/>
                  </a:lnTo>
                  <a:lnTo>
                    <a:pt x="70" y="252"/>
                  </a:lnTo>
                  <a:lnTo>
                    <a:pt x="64" y="252"/>
                  </a:lnTo>
                  <a:lnTo>
                    <a:pt x="61" y="230"/>
                  </a:lnTo>
                  <a:lnTo>
                    <a:pt x="43" y="230"/>
                  </a:lnTo>
                  <a:lnTo>
                    <a:pt x="6" y="207"/>
                  </a:lnTo>
                  <a:lnTo>
                    <a:pt x="0" y="187"/>
                  </a:lnTo>
                  <a:lnTo>
                    <a:pt x="6" y="173"/>
                  </a:lnTo>
                  <a:close/>
                </a:path>
              </a:pathLst>
            </a:custGeom>
            <a:solidFill>
              <a:srgbClr val="FFFF99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9236" name="Freeform 85">
              <a:hlinkClick r:id="rId14"/>
            </p:cNvPr>
            <p:cNvSpPr>
              <a:spLocks/>
            </p:cNvSpPr>
            <p:nvPr/>
          </p:nvSpPr>
          <p:spPr bwMode="auto">
            <a:xfrm>
              <a:off x="6597650" y="2162175"/>
              <a:ext cx="771525" cy="712788"/>
            </a:xfrm>
            <a:custGeom>
              <a:avLst/>
              <a:gdLst>
                <a:gd name="T0" fmla="*/ 2147483647 w 506"/>
                <a:gd name="T1" fmla="*/ 2147483647 h 437"/>
                <a:gd name="T2" fmla="*/ 2147483647 w 506"/>
                <a:gd name="T3" fmla="*/ 2147483647 h 437"/>
                <a:gd name="T4" fmla="*/ 2147483647 w 506"/>
                <a:gd name="T5" fmla="*/ 2147483647 h 437"/>
                <a:gd name="T6" fmla="*/ 2147483647 w 506"/>
                <a:gd name="T7" fmla="*/ 2147483647 h 437"/>
                <a:gd name="T8" fmla="*/ 2147483647 w 506"/>
                <a:gd name="T9" fmla="*/ 2147483647 h 437"/>
                <a:gd name="T10" fmla="*/ 2147483647 w 506"/>
                <a:gd name="T11" fmla="*/ 2147483647 h 437"/>
                <a:gd name="T12" fmla="*/ 2147483647 w 506"/>
                <a:gd name="T13" fmla="*/ 2147483647 h 437"/>
                <a:gd name="T14" fmla="*/ 2147483647 w 506"/>
                <a:gd name="T15" fmla="*/ 2147483647 h 437"/>
                <a:gd name="T16" fmla="*/ 2147483647 w 506"/>
                <a:gd name="T17" fmla="*/ 2147483647 h 437"/>
                <a:gd name="T18" fmla="*/ 2147483647 w 506"/>
                <a:gd name="T19" fmla="*/ 2147483647 h 437"/>
                <a:gd name="T20" fmla="*/ 2147483647 w 506"/>
                <a:gd name="T21" fmla="*/ 2147483647 h 437"/>
                <a:gd name="T22" fmla="*/ 2147483647 w 506"/>
                <a:gd name="T23" fmla="*/ 2147483647 h 437"/>
                <a:gd name="T24" fmla="*/ 2147483647 w 506"/>
                <a:gd name="T25" fmla="*/ 0 h 437"/>
                <a:gd name="T26" fmla="*/ 2147483647 w 506"/>
                <a:gd name="T27" fmla="*/ 2147483647 h 437"/>
                <a:gd name="T28" fmla="*/ 2147483647 w 506"/>
                <a:gd name="T29" fmla="*/ 2147483647 h 437"/>
                <a:gd name="T30" fmla="*/ 2147483647 w 506"/>
                <a:gd name="T31" fmla="*/ 2147483647 h 437"/>
                <a:gd name="T32" fmla="*/ 2147483647 w 506"/>
                <a:gd name="T33" fmla="*/ 2147483647 h 437"/>
                <a:gd name="T34" fmla="*/ 2147483647 w 506"/>
                <a:gd name="T35" fmla="*/ 2147483647 h 437"/>
                <a:gd name="T36" fmla="*/ 2147483647 w 506"/>
                <a:gd name="T37" fmla="*/ 2147483647 h 437"/>
                <a:gd name="T38" fmla="*/ 2147483647 w 506"/>
                <a:gd name="T39" fmla="*/ 2147483647 h 437"/>
                <a:gd name="T40" fmla="*/ 2147483647 w 506"/>
                <a:gd name="T41" fmla="*/ 2147483647 h 437"/>
                <a:gd name="T42" fmla="*/ 2147483647 w 506"/>
                <a:gd name="T43" fmla="*/ 2147483647 h 437"/>
                <a:gd name="T44" fmla="*/ 2147483647 w 506"/>
                <a:gd name="T45" fmla="*/ 2147483647 h 437"/>
                <a:gd name="T46" fmla="*/ 2147483647 w 506"/>
                <a:gd name="T47" fmla="*/ 2147483647 h 437"/>
                <a:gd name="T48" fmla="*/ 2147483647 w 506"/>
                <a:gd name="T49" fmla="*/ 2147483647 h 437"/>
                <a:gd name="T50" fmla="*/ 2147483647 w 506"/>
                <a:gd name="T51" fmla="*/ 2147483647 h 437"/>
                <a:gd name="T52" fmla="*/ 2147483647 w 506"/>
                <a:gd name="T53" fmla="*/ 2147483647 h 437"/>
                <a:gd name="T54" fmla="*/ 2147483647 w 506"/>
                <a:gd name="T55" fmla="*/ 2147483647 h 437"/>
                <a:gd name="T56" fmla="*/ 2147483647 w 506"/>
                <a:gd name="T57" fmla="*/ 2147483647 h 437"/>
                <a:gd name="T58" fmla="*/ 2147483647 w 506"/>
                <a:gd name="T59" fmla="*/ 2147483647 h 437"/>
                <a:gd name="T60" fmla="*/ 2147483647 w 506"/>
                <a:gd name="T61" fmla="*/ 2147483647 h 437"/>
                <a:gd name="T62" fmla="*/ 2147483647 w 506"/>
                <a:gd name="T63" fmla="*/ 2147483647 h 437"/>
                <a:gd name="T64" fmla="*/ 2147483647 w 506"/>
                <a:gd name="T65" fmla="*/ 2147483647 h 437"/>
                <a:gd name="T66" fmla="*/ 2147483647 w 506"/>
                <a:gd name="T67" fmla="*/ 2147483647 h 437"/>
                <a:gd name="T68" fmla="*/ 0 w 506"/>
                <a:gd name="T69" fmla="*/ 2147483647 h 437"/>
                <a:gd name="T70" fmla="*/ 2147483647 w 506"/>
                <a:gd name="T71" fmla="*/ 2147483647 h 437"/>
                <a:gd name="T72" fmla="*/ 2147483647 w 506"/>
                <a:gd name="T73" fmla="*/ 2147483647 h 437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w 506"/>
                <a:gd name="T112" fmla="*/ 0 h 437"/>
                <a:gd name="T113" fmla="*/ 506 w 506"/>
                <a:gd name="T114" fmla="*/ 437 h 437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T111" t="T112" r="T113" b="T114"/>
              <a:pathLst>
                <a:path w="506" h="437">
                  <a:moveTo>
                    <a:pt x="16" y="401"/>
                  </a:moveTo>
                  <a:lnTo>
                    <a:pt x="346" y="340"/>
                  </a:lnTo>
                  <a:lnTo>
                    <a:pt x="382" y="377"/>
                  </a:lnTo>
                  <a:lnTo>
                    <a:pt x="414" y="393"/>
                  </a:lnTo>
                  <a:lnTo>
                    <a:pt x="487" y="418"/>
                  </a:lnTo>
                  <a:lnTo>
                    <a:pt x="493" y="437"/>
                  </a:lnTo>
                  <a:lnTo>
                    <a:pt x="505" y="411"/>
                  </a:lnTo>
                  <a:lnTo>
                    <a:pt x="506" y="374"/>
                  </a:lnTo>
                  <a:lnTo>
                    <a:pt x="493" y="303"/>
                  </a:lnTo>
                  <a:lnTo>
                    <a:pt x="493" y="230"/>
                  </a:lnTo>
                  <a:lnTo>
                    <a:pt x="457" y="122"/>
                  </a:lnTo>
                  <a:lnTo>
                    <a:pt x="451" y="75"/>
                  </a:lnTo>
                  <a:lnTo>
                    <a:pt x="429" y="0"/>
                  </a:lnTo>
                  <a:lnTo>
                    <a:pt x="322" y="25"/>
                  </a:lnTo>
                  <a:lnTo>
                    <a:pt x="263" y="86"/>
                  </a:lnTo>
                  <a:lnTo>
                    <a:pt x="260" y="103"/>
                  </a:lnTo>
                  <a:lnTo>
                    <a:pt x="226" y="140"/>
                  </a:lnTo>
                  <a:lnTo>
                    <a:pt x="234" y="153"/>
                  </a:lnTo>
                  <a:lnTo>
                    <a:pt x="242" y="163"/>
                  </a:lnTo>
                  <a:lnTo>
                    <a:pt x="236" y="166"/>
                  </a:lnTo>
                  <a:lnTo>
                    <a:pt x="246" y="181"/>
                  </a:lnTo>
                  <a:lnTo>
                    <a:pt x="248" y="194"/>
                  </a:lnTo>
                  <a:lnTo>
                    <a:pt x="215" y="225"/>
                  </a:lnTo>
                  <a:lnTo>
                    <a:pt x="166" y="238"/>
                  </a:lnTo>
                  <a:lnTo>
                    <a:pt x="154" y="247"/>
                  </a:lnTo>
                  <a:lnTo>
                    <a:pt x="136" y="240"/>
                  </a:lnTo>
                  <a:lnTo>
                    <a:pt x="81" y="246"/>
                  </a:lnTo>
                  <a:lnTo>
                    <a:pt x="41" y="262"/>
                  </a:lnTo>
                  <a:lnTo>
                    <a:pt x="41" y="283"/>
                  </a:lnTo>
                  <a:lnTo>
                    <a:pt x="49" y="296"/>
                  </a:lnTo>
                  <a:lnTo>
                    <a:pt x="55" y="296"/>
                  </a:lnTo>
                  <a:lnTo>
                    <a:pt x="61" y="312"/>
                  </a:lnTo>
                  <a:lnTo>
                    <a:pt x="50" y="321"/>
                  </a:lnTo>
                  <a:lnTo>
                    <a:pt x="46" y="336"/>
                  </a:lnTo>
                  <a:lnTo>
                    <a:pt x="0" y="377"/>
                  </a:lnTo>
                  <a:lnTo>
                    <a:pt x="16" y="401"/>
                  </a:lnTo>
                  <a:close/>
                </a:path>
              </a:pathLst>
            </a:custGeom>
            <a:solidFill>
              <a:srgbClr val="FFFF99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9237" name="Freeform 86">
              <a:hlinkClick r:id="rId7"/>
            </p:cNvPr>
            <p:cNvSpPr>
              <a:spLocks/>
            </p:cNvSpPr>
            <p:nvPr/>
          </p:nvSpPr>
          <p:spPr bwMode="auto">
            <a:xfrm>
              <a:off x="7391400" y="2727325"/>
              <a:ext cx="242888" cy="146050"/>
            </a:xfrm>
            <a:custGeom>
              <a:avLst/>
              <a:gdLst>
                <a:gd name="T0" fmla="*/ 2147483647 w 157"/>
                <a:gd name="T1" fmla="*/ 2147483647 h 89"/>
                <a:gd name="T2" fmla="*/ 2147483647 w 157"/>
                <a:gd name="T3" fmla="*/ 2147483647 h 89"/>
                <a:gd name="T4" fmla="*/ 2147483647 w 157"/>
                <a:gd name="T5" fmla="*/ 2147483647 h 89"/>
                <a:gd name="T6" fmla="*/ 2147483647 w 157"/>
                <a:gd name="T7" fmla="*/ 2147483647 h 89"/>
                <a:gd name="T8" fmla="*/ 2147483647 w 157"/>
                <a:gd name="T9" fmla="*/ 2147483647 h 89"/>
                <a:gd name="T10" fmla="*/ 2147483647 w 157"/>
                <a:gd name="T11" fmla="*/ 2147483647 h 89"/>
                <a:gd name="T12" fmla="*/ 2147483647 w 157"/>
                <a:gd name="T13" fmla="*/ 2147483647 h 89"/>
                <a:gd name="T14" fmla="*/ 2147483647 w 157"/>
                <a:gd name="T15" fmla="*/ 0 h 89"/>
                <a:gd name="T16" fmla="*/ 2147483647 w 157"/>
                <a:gd name="T17" fmla="*/ 2147483647 h 89"/>
                <a:gd name="T18" fmla="*/ 2147483647 w 157"/>
                <a:gd name="T19" fmla="*/ 2147483647 h 89"/>
                <a:gd name="T20" fmla="*/ 2147483647 w 157"/>
                <a:gd name="T21" fmla="*/ 2147483647 h 89"/>
                <a:gd name="T22" fmla="*/ 2147483647 w 157"/>
                <a:gd name="T23" fmla="*/ 2147483647 h 89"/>
                <a:gd name="T24" fmla="*/ 2147483647 w 157"/>
                <a:gd name="T25" fmla="*/ 0 h 89"/>
                <a:gd name="T26" fmla="*/ 2147483647 w 157"/>
                <a:gd name="T27" fmla="*/ 2147483647 h 89"/>
                <a:gd name="T28" fmla="*/ 2147483647 w 157"/>
                <a:gd name="T29" fmla="*/ 2147483647 h 89"/>
                <a:gd name="T30" fmla="*/ 2147483647 w 157"/>
                <a:gd name="T31" fmla="*/ 2147483647 h 89"/>
                <a:gd name="T32" fmla="*/ 2147483647 w 157"/>
                <a:gd name="T33" fmla="*/ 2147483647 h 89"/>
                <a:gd name="T34" fmla="*/ 0 w 157"/>
                <a:gd name="T35" fmla="*/ 2147483647 h 89"/>
                <a:gd name="T36" fmla="*/ 2147483647 w 157"/>
                <a:gd name="T37" fmla="*/ 2147483647 h 89"/>
                <a:gd name="T38" fmla="*/ 2147483647 w 157"/>
                <a:gd name="T39" fmla="*/ 2147483647 h 89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w 157"/>
                <a:gd name="T61" fmla="*/ 0 h 89"/>
                <a:gd name="T62" fmla="*/ 157 w 157"/>
                <a:gd name="T63" fmla="*/ 89 h 89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T60" t="T61" r="T62" b="T63"/>
              <a:pathLst>
                <a:path w="157" h="89">
                  <a:moveTo>
                    <a:pt x="11" y="89"/>
                  </a:moveTo>
                  <a:lnTo>
                    <a:pt x="66" y="59"/>
                  </a:lnTo>
                  <a:lnTo>
                    <a:pt x="105" y="41"/>
                  </a:lnTo>
                  <a:lnTo>
                    <a:pt x="65" y="69"/>
                  </a:lnTo>
                  <a:lnTo>
                    <a:pt x="68" y="70"/>
                  </a:lnTo>
                  <a:lnTo>
                    <a:pt x="127" y="30"/>
                  </a:lnTo>
                  <a:lnTo>
                    <a:pt x="157" y="4"/>
                  </a:lnTo>
                  <a:lnTo>
                    <a:pt x="154" y="0"/>
                  </a:lnTo>
                  <a:lnTo>
                    <a:pt x="127" y="14"/>
                  </a:lnTo>
                  <a:lnTo>
                    <a:pt x="124" y="13"/>
                  </a:lnTo>
                  <a:lnTo>
                    <a:pt x="111" y="30"/>
                  </a:lnTo>
                  <a:lnTo>
                    <a:pt x="104" y="30"/>
                  </a:lnTo>
                  <a:lnTo>
                    <a:pt x="123" y="0"/>
                  </a:lnTo>
                  <a:lnTo>
                    <a:pt x="102" y="23"/>
                  </a:lnTo>
                  <a:lnTo>
                    <a:pt x="31" y="47"/>
                  </a:lnTo>
                  <a:lnTo>
                    <a:pt x="17" y="64"/>
                  </a:lnTo>
                  <a:lnTo>
                    <a:pt x="7" y="67"/>
                  </a:lnTo>
                  <a:lnTo>
                    <a:pt x="0" y="81"/>
                  </a:lnTo>
                  <a:lnTo>
                    <a:pt x="11" y="89"/>
                  </a:lnTo>
                  <a:close/>
                </a:path>
              </a:pathLst>
            </a:custGeom>
            <a:solidFill>
              <a:srgbClr val="FF9900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9238" name="Freeform 87">
              <a:hlinkClick r:id="rId15"/>
            </p:cNvPr>
            <p:cNvSpPr>
              <a:spLocks/>
            </p:cNvSpPr>
            <p:nvPr/>
          </p:nvSpPr>
          <p:spPr bwMode="auto">
            <a:xfrm>
              <a:off x="7342188" y="2613025"/>
              <a:ext cx="263525" cy="220663"/>
            </a:xfrm>
            <a:custGeom>
              <a:avLst/>
              <a:gdLst>
                <a:gd name="T0" fmla="*/ 2147483647 w 147"/>
                <a:gd name="T1" fmla="*/ 2147483647 h 136"/>
                <a:gd name="T2" fmla="*/ 2147483647 w 147"/>
                <a:gd name="T3" fmla="*/ 2147483647 h 136"/>
                <a:gd name="T4" fmla="*/ 2147483647 w 147"/>
                <a:gd name="T5" fmla="*/ 2147483647 h 136"/>
                <a:gd name="T6" fmla="*/ 2147483647 w 147"/>
                <a:gd name="T7" fmla="*/ 2147483647 h 136"/>
                <a:gd name="T8" fmla="*/ 2147483647 w 147"/>
                <a:gd name="T9" fmla="*/ 2147483647 h 136"/>
                <a:gd name="T10" fmla="*/ 2147483647 w 147"/>
                <a:gd name="T11" fmla="*/ 2147483647 h 136"/>
                <a:gd name="T12" fmla="*/ 2147483647 w 147"/>
                <a:gd name="T13" fmla="*/ 2147483647 h 136"/>
                <a:gd name="T14" fmla="*/ 2147483647 w 147"/>
                <a:gd name="T15" fmla="*/ 2147483647 h 136"/>
                <a:gd name="T16" fmla="*/ 2147483647 w 147"/>
                <a:gd name="T17" fmla="*/ 2147483647 h 136"/>
                <a:gd name="T18" fmla="*/ 2147483647 w 147"/>
                <a:gd name="T19" fmla="*/ 2147483647 h 136"/>
                <a:gd name="T20" fmla="*/ 2147483647 w 147"/>
                <a:gd name="T21" fmla="*/ 2147483647 h 136"/>
                <a:gd name="T22" fmla="*/ 2147483647 w 147"/>
                <a:gd name="T23" fmla="*/ 2147483647 h 136"/>
                <a:gd name="T24" fmla="*/ 2147483647 w 147"/>
                <a:gd name="T25" fmla="*/ 0 h 136"/>
                <a:gd name="T26" fmla="*/ 0 w 147"/>
                <a:gd name="T27" fmla="*/ 2147483647 h 136"/>
                <a:gd name="T28" fmla="*/ 2147483647 w 147"/>
                <a:gd name="T29" fmla="*/ 2147483647 h 136"/>
                <a:gd name="T30" fmla="*/ 2147483647 w 147"/>
                <a:gd name="T31" fmla="*/ 2147483647 h 1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147"/>
                <a:gd name="T49" fmla="*/ 0 h 136"/>
                <a:gd name="T50" fmla="*/ 147 w 147"/>
                <a:gd name="T51" fmla="*/ 136 h 136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147" h="136">
                  <a:moveTo>
                    <a:pt x="13" y="99"/>
                  </a:moveTo>
                  <a:lnTo>
                    <a:pt x="12" y="136"/>
                  </a:lnTo>
                  <a:lnTo>
                    <a:pt x="24" y="133"/>
                  </a:lnTo>
                  <a:lnTo>
                    <a:pt x="52" y="112"/>
                  </a:lnTo>
                  <a:lnTo>
                    <a:pt x="61" y="95"/>
                  </a:lnTo>
                  <a:lnTo>
                    <a:pt x="67" y="99"/>
                  </a:lnTo>
                  <a:lnTo>
                    <a:pt x="105" y="89"/>
                  </a:lnTo>
                  <a:lnTo>
                    <a:pt x="107" y="81"/>
                  </a:lnTo>
                  <a:lnTo>
                    <a:pt x="113" y="84"/>
                  </a:lnTo>
                  <a:lnTo>
                    <a:pt x="120" y="78"/>
                  </a:lnTo>
                  <a:lnTo>
                    <a:pt x="132" y="77"/>
                  </a:lnTo>
                  <a:lnTo>
                    <a:pt x="147" y="70"/>
                  </a:lnTo>
                  <a:lnTo>
                    <a:pt x="132" y="0"/>
                  </a:lnTo>
                  <a:lnTo>
                    <a:pt x="0" y="28"/>
                  </a:lnTo>
                  <a:lnTo>
                    <a:pt x="13" y="99"/>
                  </a:lnTo>
                  <a:close/>
                </a:path>
              </a:pathLst>
            </a:custGeom>
            <a:solidFill>
              <a:srgbClr val="FF9900"/>
            </a:solidFill>
            <a:ln w="9525" cap="flat" cmpd="sng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9239" name="Freeform 88">
              <a:hlinkClick r:id="rId7"/>
            </p:cNvPr>
            <p:cNvSpPr>
              <a:spLocks/>
            </p:cNvSpPr>
            <p:nvPr/>
          </p:nvSpPr>
          <p:spPr bwMode="auto">
            <a:xfrm>
              <a:off x="7542213" y="2598738"/>
              <a:ext cx="103187" cy="125412"/>
            </a:xfrm>
            <a:custGeom>
              <a:avLst/>
              <a:gdLst>
                <a:gd name="T0" fmla="*/ 2147483647 w 67"/>
                <a:gd name="T1" fmla="*/ 2147483647 h 77"/>
                <a:gd name="T2" fmla="*/ 2147483647 w 67"/>
                <a:gd name="T3" fmla="*/ 2147483647 h 77"/>
                <a:gd name="T4" fmla="*/ 2147483647 w 67"/>
                <a:gd name="T5" fmla="*/ 2147483647 h 77"/>
                <a:gd name="T6" fmla="*/ 2147483647 w 67"/>
                <a:gd name="T7" fmla="*/ 2147483647 h 77"/>
                <a:gd name="T8" fmla="*/ 2147483647 w 67"/>
                <a:gd name="T9" fmla="*/ 2147483647 h 77"/>
                <a:gd name="T10" fmla="*/ 2147483647 w 67"/>
                <a:gd name="T11" fmla="*/ 2147483647 h 77"/>
                <a:gd name="T12" fmla="*/ 2147483647 w 67"/>
                <a:gd name="T13" fmla="*/ 2147483647 h 77"/>
                <a:gd name="T14" fmla="*/ 2147483647 w 67"/>
                <a:gd name="T15" fmla="*/ 2147483647 h 77"/>
                <a:gd name="T16" fmla="*/ 2147483647 w 67"/>
                <a:gd name="T17" fmla="*/ 2147483647 h 77"/>
                <a:gd name="T18" fmla="*/ 2147483647 w 67"/>
                <a:gd name="T19" fmla="*/ 2147483647 h 77"/>
                <a:gd name="T20" fmla="*/ 2147483647 w 67"/>
                <a:gd name="T21" fmla="*/ 0 h 77"/>
                <a:gd name="T22" fmla="*/ 0 w 67"/>
                <a:gd name="T23" fmla="*/ 2147483647 h 77"/>
                <a:gd name="T24" fmla="*/ 2147483647 w 67"/>
                <a:gd name="T25" fmla="*/ 2147483647 h 77"/>
                <a:gd name="T26" fmla="*/ 2147483647 w 67"/>
                <a:gd name="T27" fmla="*/ 2147483647 h 77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67"/>
                <a:gd name="T43" fmla="*/ 0 h 77"/>
                <a:gd name="T44" fmla="*/ 67 w 67"/>
                <a:gd name="T45" fmla="*/ 77 h 77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67" h="77">
                  <a:moveTo>
                    <a:pt x="15" y="77"/>
                  </a:moveTo>
                  <a:lnTo>
                    <a:pt x="43" y="66"/>
                  </a:lnTo>
                  <a:lnTo>
                    <a:pt x="43" y="35"/>
                  </a:lnTo>
                  <a:lnTo>
                    <a:pt x="51" y="43"/>
                  </a:lnTo>
                  <a:lnTo>
                    <a:pt x="52" y="57"/>
                  </a:lnTo>
                  <a:lnTo>
                    <a:pt x="58" y="57"/>
                  </a:lnTo>
                  <a:lnTo>
                    <a:pt x="67" y="43"/>
                  </a:lnTo>
                  <a:lnTo>
                    <a:pt x="58" y="26"/>
                  </a:lnTo>
                  <a:lnTo>
                    <a:pt x="43" y="23"/>
                  </a:lnTo>
                  <a:lnTo>
                    <a:pt x="33" y="3"/>
                  </a:lnTo>
                  <a:lnTo>
                    <a:pt x="24" y="0"/>
                  </a:lnTo>
                  <a:lnTo>
                    <a:pt x="0" y="7"/>
                  </a:lnTo>
                  <a:lnTo>
                    <a:pt x="15" y="77"/>
                  </a:lnTo>
                  <a:close/>
                </a:path>
              </a:pathLst>
            </a:custGeom>
            <a:solidFill>
              <a:srgbClr val="FF9900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9240" name="Freeform 89">
              <a:hlinkClick r:id="rId7"/>
            </p:cNvPr>
            <p:cNvSpPr>
              <a:spLocks/>
            </p:cNvSpPr>
            <p:nvPr/>
          </p:nvSpPr>
          <p:spPr bwMode="auto">
            <a:xfrm>
              <a:off x="7342188" y="2441575"/>
              <a:ext cx="436562" cy="228600"/>
            </a:xfrm>
            <a:custGeom>
              <a:avLst/>
              <a:gdLst>
                <a:gd name="T0" fmla="*/ 0 w 285"/>
                <a:gd name="T1" fmla="*/ 2147483647 h 140"/>
                <a:gd name="T2" fmla="*/ 2147483647 w 285"/>
                <a:gd name="T3" fmla="*/ 2147483647 h 140"/>
                <a:gd name="T4" fmla="*/ 2147483647 w 285"/>
                <a:gd name="T5" fmla="*/ 2147483647 h 140"/>
                <a:gd name="T6" fmla="*/ 2147483647 w 285"/>
                <a:gd name="T7" fmla="*/ 2147483647 h 140"/>
                <a:gd name="T8" fmla="*/ 2147483647 w 285"/>
                <a:gd name="T9" fmla="*/ 2147483647 h 140"/>
                <a:gd name="T10" fmla="*/ 2147483647 w 285"/>
                <a:gd name="T11" fmla="*/ 2147483647 h 140"/>
                <a:gd name="T12" fmla="*/ 2147483647 w 285"/>
                <a:gd name="T13" fmla="*/ 2147483647 h 140"/>
                <a:gd name="T14" fmla="*/ 2147483647 w 285"/>
                <a:gd name="T15" fmla="*/ 2147483647 h 140"/>
                <a:gd name="T16" fmla="*/ 2147483647 w 285"/>
                <a:gd name="T17" fmla="*/ 2147483647 h 140"/>
                <a:gd name="T18" fmla="*/ 2147483647 w 285"/>
                <a:gd name="T19" fmla="*/ 2147483647 h 140"/>
                <a:gd name="T20" fmla="*/ 2147483647 w 285"/>
                <a:gd name="T21" fmla="*/ 2147483647 h 140"/>
                <a:gd name="T22" fmla="*/ 2147483647 w 285"/>
                <a:gd name="T23" fmla="*/ 2147483647 h 140"/>
                <a:gd name="T24" fmla="*/ 2147483647 w 285"/>
                <a:gd name="T25" fmla="*/ 2147483647 h 140"/>
                <a:gd name="T26" fmla="*/ 2147483647 w 285"/>
                <a:gd name="T27" fmla="*/ 2147483647 h 140"/>
                <a:gd name="T28" fmla="*/ 2147483647 w 285"/>
                <a:gd name="T29" fmla="*/ 2147483647 h 140"/>
                <a:gd name="T30" fmla="*/ 2147483647 w 285"/>
                <a:gd name="T31" fmla="*/ 2147483647 h 140"/>
                <a:gd name="T32" fmla="*/ 2147483647 w 285"/>
                <a:gd name="T33" fmla="*/ 2147483647 h 140"/>
                <a:gd name="T34" fmla="*/ 2147483647 w 285"/>
                <a:gd name="T35" fmla="*/ 2147483647 h 140"/>
                <a:gd name="T36" fmla="*/ 2147483647 w 285"/>
                <a:gd name="T37" fmla="*/ 2147483647 h 140"/>
                <a:gd name="T38" fmla="*/ 2147483647 w 285"/>
                <a:gd name="T39" fmla="*/ 2147483647 h 140"/>
                <a:gd name="T40" fmla="*/ 2147483647 w 285"/>
                <a:gd name="T41" fmla="*/ 2147483647 h 140"/>
                <a:gd name="T42" fmla="*/ 2147483647 w 285"/>
                <a:gd name="T43" fmla="*/ 2147483647 h 140"/>
                <a:gd name="T44" fmla="*/ 2147483647 w 285"/>
                <a:gd name="T45" fmla="*/ 2147483647 h 140"/>
                <a:gd name="T46" fmla="*/ 2147483647 w 285"/>
                <a:gd name="T47" fmla="*/ 2147483647 h 140"/>
                <a:gd name="T48" fmla="*/ 2147483647 w 285"/>
                <a:gd name="T49" fmla="*/ 2147483647 h 140"/>
                <a:gd name="T50" fmla="*/ 2147483647 w 285"/>
                <a:gd name="T51" fmla="*/ 2147483647 h 140"/>
                <a:gd name="T52" fmla="*/ 2147483647 w 285"/>
                <a:gd name="T53" fmla="*/ 2147483647 h 140"/>
                <a:gd name="T54" fmla="*/ 2147483647 w 285"/>
                <a:gd name="T55" fmla="*/ 0 h 140"/>
                <a:gd name="T56" fmla="*/ 2147483647 w 285"/>
                <a:gd name="T57" fmla="*/ 2147483647 h 140"/>
                <a:gd name="T58" fmla="*/ 2147483647 w 285"/>
                <a:gd name="T59" fmla="*/ 2147483647 h 140"/>
                <a:gd name="T60" fmla="*/ 0 w 285"/>
                <a:gd name="T61" fmla="*/ 2147483647 h 140"/>
                <a:gd name="T62" fmla="*/ 0 w 285"/>
                <a:gd name="T63" fmla="*/ 2147483647 h 140"/>
                <a:gd name="T64" fmla="*/ 0 w 285"/>
                <a:gd name="T65" fmla="*/ 2147483647 h 140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285"/>
                <a:gd name="T100" fmla="*/ 0 h 140"/>
                <a:gd name="T101" fmla="*/ 285 w 285"/>
                <a:gd name="T102" fmla="*/ 140 h 140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285" h="140">
                  <a:moveTo>
                    <a:pt x="0" y="131"/>
                  </a:moveTo>
                  <a:lnTo>
                    <a:pt x="132" y="103"/>
                  </a:lnTo>
                  <a:lnTo>
                    <a:pt x="156" y="96"/>
                  </a:lnTo>
                  <a:lnTo>
                    <a:pt x="165" y="99"/>
                  </a:lnTo>
                  <a:lnTo>
                    <a:pt x="175" y="119"/>
                  </a:lnTo>
                  <a:lnTo>
                    <a:pt x="190" y="122"/>
                  </a:lnTo>
                  <a:lnTo>
                    <a:pt x="199" y="139"/>
                  </a:lnTo>
                  <a:lnTo>
                    <a:pt x="208" y="140"/>
                  </a:lnTo>
                  <a:lnTo>
                    <a:pt x="218" y="124"/>
                  </a:lnTo>
                  <a:lnTo>
                    <a:pt x="223" y="111"/>
                  </a:lnTo>
                  <a:lnTo>
                    <a:pt x="233" y="128"/>
                  </a:lnTo>
                  <a:lnTo>
                    <a:pt x="285" y="112"/>
                  </a:lnTo>
                  <a:lnTo>
                    <a:pt x="282" y="93"/>
                  </a:lnTo>
                  <a:lnTo>
                    <a:pt x="267" y="68"/>
                  </a:lnTo>
                  <a:lnTo>
                    <a:pt x="260" y="65"/>
                  </a:lnTo>
                  <a:lnTo>
                    <a:pt x="251" y="66"/>
                  </a:lnTo>
                  <a:lnTo>
                    <a:pt x="253" y="71"/>
                  </a:lnTo>
                  <a:lnTo>
                    <a:pt x="264" y="72"/>
                  </a:lnTo>
                  <a:lnTo>
                    <a:pt x="269" y="96"/>
                  </a:lnTo>
                  <a:lnTo>
                    <a:pt x="248" y="105"/>
                  </a:lnTo>
                  <a:lnTo>
                    <a:pt x="218" y="86"/>
                  </a:lnTo>
                  <a:lnTo>
                    <a:pt x="208" y="65"/>
                  </a:lnTo>
                  <a:lnTo>
                    <a:pt x="195" y="59"/>
                  </a:lnTo>
                  <a:lnTo>
                    <a:pt x="195" y="65"/>
                  </a:lnTo>
                  <a:lnTo>
                    <a:pt x="181" y="53"/>
                  </a:lnTo>
                  <a:lnTo>
                    <a:pt x="192" y="38"/>
                  </a:lnTo>
                  <a:lnTo>
                    <a:pt x="201" y="25"/>
                  </a:lnTo>
                  <a:lnTo>
                    <a:pt x="184" y="0"/>
                  </a:lnTo>
                  <a:lnTo>
                    <a:pt x="156" y="21"/>
                  </a:lnTo>
                  <a:lnTo>
                    <a:pt x="61" y="44"/>
                  </a:lnTo>
                  <a:lnTo>
                    <a:pt x="0" y="58"/>
                  </a:lnTo>
                  <a:lnTo>
                    <a:pt x="0" y="131"/>
                  </a:lnTo>
                  <a:close/>
                </a:path>
              </a:pathLst>
            </a:custGeom>
            <a:solidFill>
              <a:srgbClr val="FF9900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9241" name="Freeform 90"/>
            <p:cNvSpPr>
              <a:spLocks/>
            </p:cNvSpPr>
            <p:nvPr/>
          </p:nvSpPr>
          <p:spPr bwMode="auto">
            <a:xfrm>
              <a:off x="7759700" y="2606675"/>
              <a:ext cx="69850" cy="76200"/>
            </a:xfrm>
            <a:custGeom>
              <a:avLst/>
              <a:gdLst>
                <a:gd name="T0" fmla="*/ 0 w 21"/>
                <a:gd name="T1" fmla="*/ 2147483647 h 14"/>
                <a:gd name="T2" fmla="*/ 2147483647 w 21"/>
                <a:gd name="T3" fmla="*/ 0 h 14"/>
                <a:gd name="T4" fmla="*/ 2147483647 w 21"/>
                <a:gd name="T5" fmla="*/ 2147483647 h 14"/>
                <a:gd name="T6" fmla="*/ 0 w 21"/>
                <a:gd name="T7" fmla="*/ 2147483647 h 14"/>
                <a:gd name="T8" fmla="*/ 0 w 21"/>
                <a:gd name="T9" fmla="*/ 2147483647 h 14"/>
                <a:gd name="T10" fmla="*/ 0 w 21"/>
                <a:gd name="T11" fmla="*/ 2147483647 h 14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21"/>
                <a:gd name="T19" fmla="*/ 0 h 14"/>
                <a:gd name="T20" fmla="*/ 21 w 21"/>
                <a:gd name="T21" fmla="*/ 14 h 14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21" h="14">
                  <a:moveTo>
                    <a:pt x="0" y="14"/>
                  </a:moveTo>
                  <a:lnTo>
                    <a:pt x="12" y="0"/>
                  </a:lnTo>
                  <a:lnTo>
                    <a:pt x="21" y="10"/>
                  </a:lnTo>
                  <a:lnTo>
                    <a:pt x="0" y="14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9242" name="Freeform 91">
              <a:hlinkClick r:id="rId7"/>
            </p:cNvPr>
            <p:cNvSpPr>
              <a:spLocks/>
            </p:cNvSpPr>
            <p:nvPr/>
          </p:nvSpPr>
          <p:spPr bwMode="auto">
            <a:xfrm>
              <a:off x="7243763" y="2139950"/>
              <a:ext cx="207962" cy="431800"/>
            </a:xfrm>
            <a:custGeom>
              <a:avLst/>
              <a:gdLst>
                <a:gd name="T0" fmla="*/ 2147483647 w 138"/>
                <a:gd name="T1" fmla="*/ 2147483647 h 263"/>
                <a:gd name="T2" fmla="*/ 2147483647 w 138"/>
                <a:gd name="T3" fmla="*/ 2147483647 h 263"/>
                <a:gd name="T4" fmla="*/ 2147483647 w 138"/>
                <a:gd name="T5" fmla="*/ 2147483647 h 263"/>
                <a:gd name="T6" fmla="*/ 2147483647 w 138"/>
                <a:gd name="T7" fmla="*/ 2147483647 h 263"/>
                <a:gd name="T8" fmla="*/ 2147483647 w 138"/>
                <a:gd name="T9" fmla="*/ 2147483647 h 263"/>
                <a:gd name="T10" fmla="*/ 2147483647 w 138"/>
                <a:gd name="T11" fmla="*/ 2147483647 h 263"/>
                <a:gd name="T12" fmla="*/ 2147483647 w 138"/>
                <a:gd name="T13" fmla="*/ 0 h 263"/>
                <a:gd name="T14" fmla="*/ 0 w 138"/>
                <a:gd name="T15" fmla="*/ 2147483647 h 263"/>
                <a:gd name="T16" fmla="*/ 2147483647 w 138"/>
                <a:gd name="T17" fmla="*/ 2147483647 h 263"/>
                <a:gd name="T18" fmla="*/ 2147483647 w 138"/>
                <a:gd name="T19" fmla="*/ 2147483647 h 263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38"/>
                <a:gd name="T31" fmla="*/ 0 h 263"/>
                <a:gd name="T32" fmla="*/ 138 w 138"/>
                <a:gd name="T33" fmla="*/ 263 h 263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38" h="263">
                  <a:moveTo>
                    <a:pt x="22" y="108"/>
                  </a:moveTo>
                  <a:lnTo>
                    <a:pt x="28" y="155"/>
                  </a:lnTo>
                  <a:lnTo>
                    <a:pt x="64" y="263"/>
                  </a:lnTo>
                  <a:lnTo>
                    <a:pt x="125" y="249"/>
                  </a:lnTo>
                  <a:lnTo>
                    <a:pt x="120" y="96"/>
                  </a:lnTo>
                  <a:lnTo>
                    <a:pt x="137" y="66"/>
                  </a:lnTo>
                  <a:lnTo>
                    <a:pt x="138" y="0"/>
                  </a:lnTo>
                  <a:lnTo>
                    <a:pt x="0" y="33"/>
                  </a:lnTo>
                  <a:lnTo>
                    <a:pt x="22" y="108"/>
                  </a:lnTo>
                  <a:close/>
                </a:path>
              </a:pathLst>
            </a:custGeom>
            <a:solidFill>
              <a:srgbClr val="FF9900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9243" name="Freeform 92">
              <a:hlinkClick r:id="rId7"/>
            </p:cNvPr>
            <p:cNvSpPr>
              <a:spLocks/>
            </p:cNvSpPr>
            <p:nvPr/>
          </p:nvSpPr>
          <p:spPr bwMode="auto">
            <a:xfrm>
              <a:off x="7427913" y="2044700"/>
              <a:ext cx="193675" cy="469900"/>
            </a:xfrm>
            <a:custGeom>
              <a:avLst/>
              <a:gdLst>
                <a:gd name="T0" fmla="*/ 0 w 128"/>
                <a:gd name="T1" fmla="*/ 2147483647 h 287"/>
                <a:gd name="T2" fmla="*/ 2147483647 w 128"/>
                <a:gd name="T3" fmla="*/ 2147483647 h 287"/>
                <a:gd name="T4" fmla="*/ 2147483647 w 128"/>
                <a:gd name="T5" fmla="*/ 2147483647 h 287"/>
                <a:gd name="T6" fmla="*/ 2147483647 w 128"/>
                <a:gd name="T7" fmla="*/ 2147483647 h 287"/>
                <a:gd name="T8" fmla="*/ 2147483647 w 128"/>
                <a:gd name="T9" fmla="*/ 0 h 287"/>
                <a:gd name="T10" fmla="*/ 2147483647 w 128"/>
                <a:gd name="T11" fmla="*/ 2147483647 h 287"/>
                <a:gd name="T12" fmla="*/ 2147483647 w 128"/>
                <a:gd name="T13" fmla="*/ 2147483647 h 287"/>
                <a:gd name="T14" fmla="*/ 2147483647 w 128"/>
                <a:gd name="T15" fmla="*/ 2147483647 h 287"/>
                <a:gd name="T16" fmla="*/ 2147483647 w 128"/>
                <a:gd name="T17" fmla="*/ 2147483647 h 287"/>
                <a:gd name="T18" fmla="*/ 2147483647 w 128"/>
                <a:gd name="T19" fmla="*/ 2147483647 h 287"/>
                <a:gd name="T20" fmla="*/ 0 w 128"/>
                <a:gd name="T21" fmla="*/ 2147483647 h 287"/>
                <a:gd name="T22" fmla="*/ 0 w 128"/>
                <a:gd name="T23" fmla="*/ 2147483647 h 287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128"/>
                <a:gd name="T37" fmla="*/ 0 h 287"/>
                <a:gd name="T38" fmla="*/ 128 w 128"/>
                <a:gd name="T39" fmla="*/ 287 h 287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128" h="287">
                  <a:moveTo>
                    <a:pt x="0" y="134"/>
                  </a:moveTo>
                  <a:lnTo>
                    <a:pt x="17" y="104"/>
                  </a:lnTo>
                  <a:lnTo>
                    <a:pt x="18" y="38"/>
                  </a:lnTo>
                  <a:lnTo>
                    <a:pt x="17" y="13"/>
                  </a:lnTo>
                  <a:lnTo>
                    <a:pt x="42" y="0"/>
                  </a:lnTo>
                  <a:lnTo>
                    <a:pt x="100" y="180"/>
                  </a:lnTo>
                  <a:lnTo>
                    <a:pt x="128" y="218"/>
                  </a:lnTo>
                  <a:lnTo>
                    <a:pt x="128" y="243"/>
                  </a:lnTo>
                  <a:lnTo>
                    <a:pt x="100" y="264"/>
                  </a:lnTo>
                  <a:lnTo>
                    <a:pt x="5" y="287"/>
                  </a:lnTo>
                  <a:lnTo>
                    <a:pt x="0" y="134"/>
                  </a:lnTo>
                  <a:close/>
                </a:path>
              </a:pathLst>
            </a:custGeom>
            <a:solidFill>
              <a:srgbClr val="FF9900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9244" name="Freeform 93">
              <a:hlinkClick r:id="rId7"/>
            </p:cNvPr>
            <p:cNvSpPr>
              <a:spLocks/>
            </p:cNvSpPr>
            <p:nvPr/>
          </p:nvSpPr>
          <p:spPr bwMode="auto">
            <a:xfrm>
              <a:off x="7489825" y="1628775"/>
              <a:ext cx="476250" cy="773113"/>
            </a:xfrm>
            <a:custGeom>
              <a:avLst/>
              <a:gdLst>
                <a:gd name="T0" fmla="*/ 0 w 312"/>
                <a:gd name="T1" fmla="*/ 2147483647 h 473"/>
                <a:gd name="T2" fmla="*/ 2147483647 w 312"/>
                <a:gd name="T3" fmla="*/ 2147483647 h 473"/>
                <a:gd name="T4" fmla="*/ 2147483647 w 312"/>
                <a:gd name="T5" fmla="*/ 2147483647 h 473"/>
                <a:gd name="T6" fmla="*/ 2147483647 w 312"/>
                <a:gd name="T7" fmla="*/ 2147483647 h 473"/>
                <a:gd name="T8" fmla="*/ 2147483647 w 312"/>
                <a:gd name="T9" fmla="*/ 2147483647 h 473"/>
                <a:gd name="T10" fmla="*/ 2147483647 w 312"/>
                <a:gd name="T11" fmla="*/ 2147483647 h 473"/>
                <a:gd name="T12" fmla="*/ 2147483647 w 312"/>
                <a:gd name="T13" fmla="*/ 2147483647 h 473"/>
                <a:gd name="T14" fmla="*/ 2147483647 w 312"/>
                <a:gd name="T15" fmla="*/ 2147483647 h 473"/>
                <a:gd name="T16" fmla="*/ 2147483647 w 312"/>
                <a:gd name="T17" fmla="*/ 2147483647 h 473"/>
                <a:gd name="T18" fmla="*/ 2147483647 w 312"/>
                <a:gd name="T19" fmla="*/ 0 h 473"/>
                <a:gd name="T20" fmla="*/ 2147483647 w 312"/>
                <a:gd name="T21" fmla="*/ 2147483647 h 473"/>
                <a:gd name="T22" fmla="*/ 2147483647 w 312"/>
                <a:gd name="T23" fmla="*/ 2147483647 h 473"/>
                <a:gd name="T24" fmla="*/ 2147483647 w 312"/>
                <a:gd name="T25" fmla="*/ 2147483647 h 473"/>
                <a:gd name="T26" fmla="*/ 2147483647 w 312"/>
                <a:gd name="T27" fmla="*/ 2147483647 h 473"/>
                <a:gd name="T28" fmla="*/ 2147483647 w 312"/>
                <a:gd name="T29" fmla="*/ 2147483647 h 473"/>
                <a:gd name="T30" fmla="*/ 2147483647 w 312"/>
                <a:gd name="T31" fmla="*/ 2147483647 h 473"/>
                <a:gd name="T32" fmla="*/ 2147483647 w 312"/>
                <a:gd name="T33" fmla="*/ 2147483647 h 473"/>
                <a:gd name="T34" fmla="*/ 2147483647 w 312"/>
                <a:gd name="T35" fmla="*/ 2147483647 h 473"/>
                <a:gd name="T36" fmla="*/ 2147483647 w 312"/>
                <a:gd name="T37" fmla="*/ 2147483647 h 473"/>
                <a:gd name="T38" fmla="*/ 2147483647 w 312"/>
                <a:gd name="T39" fmla="*/ 2147483647 h 473"/>
                <a:gd name="T40" fmla="*/ 2147483647 w 312"/>
                <a:gd name="T41" fmla="*/ 2147483647 h 473"/>
                <a:gd name="T42" fmla="*/ 2147483647 w 312"/>
                <a:gd name="T43" fmla="*/ 2147483647 h 473"/>
                <a:gd name="T44" fmla="*/ 2147483647 w 312"/>
                <a:gd name="T45" fmla="*/ 2147483647 h 473"/>
                <a:gd name="T46" fmla="*/ 2147483647 w 312"/>
                <a:gd name="T47" fmla="*/ 2147483647 h 473"/>
                <a:gd name="T48" fmla="*/ 2147483647 w 312"/>
                <a:gd name="T49" fmla="*/ 2147483647 h 473"/>
                <a:gd name="T50" fmla="*/ 2147483647 w 312"/>
                <a:gd name="T51" fmla="*/ 2147483647 h 473"/>
                <a:gd name="T52" fmla="*/ 2147483647 w 312"/>
                <a:gd name="T53" fmla="*/ 2147483647 h 473"/>
                <a:gd name="T54" fmla="*/ 2147483647 w 312"/>
                <a:gd name="T55" fmla="*/ 2147483647 h 473"/>
                <a:gd name="T56" fmla="*/ 2147483647 w 312"/>
                <a:gd name="T57" fmla="*/ 2147483647 h 473"/>
                <a:gd name="T58" fmla="*/ 2147483647 w 312"/>
                <a:gd name="T59" fmla="*/ 2147483647 h 473"/>
                <a:gd name="T60" fmla="*/ 2147483647 w 312"/>
                <a:gd name="T61" fmla="*/ 2147483647 h 473"/>
                <a:gd name="T62" fmla="*/ 2147483647 w 312"/>
                <a:gd name="T63" fmla="*/ 2147483647 h 473"/>
                <a:gd name="T64" fmla="*/ 2147483647 w 312"/>
                <a:gd name="T65" fmla="*/ 2147483647 h 473"/>
                <a:gd name="T66" fmla="*/ 0 w 312"/>
                <a:gd name="T67" fmla="*/ 2147483647 h 473"/>
                <a:gd name="T68" fmla="*/ 0 w 312"/>
                <a:gd name="T69" fmla="*/ 2147483647 h 473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312"/>
                <a:gd name="T106" fmla="*/ 0 h 473"/>
                <a:gd name="T107" fmla="*/ 312 w 312"/>
                <a:gd name="T108" fmla="*/ 473 h 473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312" h="473">
                  <a:moveTo>
                    <a:pt x="0" y="255"/>
                  </a:moveTo>
                  <a:lnTo>
                    <a:pt x="18" y="256"/>
                  </a:lnTo>
                  <a:lnTo>
                    <a:pt x="19" y="225"/>
                  </a:lnTo>
                  <a:lnTo>
                    <a:pt x="42" y="182"/>
                  </a:lnTo>
                  <a:lnTo>
                    <a:pt x="31" y="152"/>
                  </a:lnTo>
                  <a:lnTo>
                    <a:pt x="76" y="3"/>
                  </a:lnTo>
                  <a:lnTo>
                    <a:pt x="86" y="3"/>
                  </a:lnTo>
                  <a:lnTo>
                    <a:pt x="89" y="22"/>
                  </a:lnTo>
                  <a:lnTo>
                    <a:pt x="134" y="6"/>
                  </a:lnTo>
                  <a:lnTo>
                    <a:pt x="135" y="0"/>
                  </a:lnTo>
                  <a:lnTo>
                    <a:pt x="171" y="7"/>
                  </a:lnTo>
                  <a:lnTo>
                    <a:pt x="229" y="153"/>
                  </a:lnTo>
                  <a:lnTo>
                    <a:pt x="256" y="154"/>
                  </a:lnTo>
                  <a:lnTo>
                    <a:pt x="305" y="209"/>
                  </a:lnTo>
                  <a:lnTo>
                    <a:pt x="297" y="219"/>
                  </a:lnTo>
                  <a:lnTo>
                    <a:pt x="312" y="219"/>
                  </a:lnTo>
                  <a:lnTo>
                    <a:pt x="302" y="246"/>
                  </a:lnTo>
                  <a:lnTo>
                    <a:pt x="278" y="264"/>
                  </a:lnTo>
                  <a:lnTo>
                    <a:pt x="251" y="277"/>
                  </a:lnTo>
                  <a:lnTo>
                    <a:pt x="248" y="295"/>
                  </a:lnTo>
                  <a:lnTo>
                    <a:pt x="233" y="278"/>
                  </a:lnTo>
                  <a:lnTo>
                    <a:pt x="209" y="297"/>
                  </a:lnTo>
                  <a:lnTo>
                    <a:pt x="198" y="297"/>
                  </a:lnTo>
                  <a:lnTo>
                    <a:pt x="187" y="286"/>
                  </a:lnTo>
                  <a:lnTo>
                    <a:pt x="181" y="343"/>
                  </a:lnTo>
                  <a:lnTo>
                    <a:pt x="159" y="352"/>
                  </a:lnTo>
                  <a:lnTo>
                    <a:pt x="149" y="374"/>
                  </a:lnTo>
                  <a:lnTo>
                    <a:pt x="135" y="374"/>
                  </a:lnTo>
                  <a:lnTo>
                    <a:pt x="104" y="408"/>
                  </a:lnTo>
                  <a:lnTo>
                    <a:pt x="103" y="435"/>
                  </a:lnTo>
                  <a:lnTo>
                    <a:pt x="95" y="445"/>
                  </a:lnTo>
                  <a:lnTo>
                    <a:pt x="86" y="473"/>
                  </a:lnTo>
                  <a:lnTo>
                    <a:pt x="58" y="435"/>
                  </a:lnTo>
                  <a:lnTo>
                    <a:pt x="0" y="255"/>
                  </a:lnTo>
                  <a:close/>
                </a:path>
              </a:pathLst>
            </a:custGeom>
            <a:solidFill>
              <a:srgbClr val="FF9900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9245" name="Text Box 94"/>
            <p:cNvSpPr txBox="1">
              <a:spLocks noChangeArrowheads="1"/>
            </p:cNvSpPr>
            <p:nvPr/>
          </p:nvSpPr>
          <p:spPr bwMode="auto">
            <a:xfrm>
              <a:off x="8077200" y="2803525"/>
              <a:ext cx="609600" cy="230832"/>
            </a:xfrm>
            <a:prstGeom prst="rect">
              <a:avLst/>
            </a:prstGeom>
            <a:noFill/>
            <a:ln w="12700">
              <a:noFill/>
              <a:miter lim="800000"/>
              <a:headEnd type="none" w="sm" len="sm"/>
              <a:tailEnd type="none" w="sm" len="sm"/>
            </a:ln>
          </p:spPr>
          <p:txBody>
            <a:bodyPr>
              <a:spAutoFit/>
            </a:bodyPr>
            <a:lstStyle/>
            <a:p>
              <a:pPr>
                <a:spcBef>
                  <a:spcPct val="50000"/>
                </a:spcBef>
              </a:pPr>
              <a:r>
                <a:rPr lang="en-US" sz="900" b="0" u="none" dirty="0" smtClean="0"/>
                <a:t>RI</a:t>
              </a:r>
              <a:endParaRPr lang="en-US" sz="900" b="0" u="none" dirty="0"/>
            </a:p>
          </p:txBody>
        </p:sp>
        <p:sp>
          <p:nvSpPr>
            <p:cNvPr id="49246" name="Line 95"/>
            <p:cNvSpPr>
              <a:spLocks noChangeShapeType="1"/>
            </p:cNvSpPr>
            <p:nvPr/>
          </p:nvSpPr>
          <p:spPr bwMode="auto">
            <a:xfrm>
              <a:off x="7543800" y="2574925"/>
              <a:ext cx="685800" cy="76200"/>
            </a:xfrm>
            <a:prstGeom prst="line">
              <a:avLst/>
            </a:prstGeom>
            <a:noFill/>
            <a:ln w="12700">
              <a:solidFill>
                <a:schemeClr val="tx1"/>
              </a:solidFill>
              <a:round/>
              <a:headEnd type="none" w="sm" len="sm"/>
              <a:tailEnd type="triangle" w="sm" len="sm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9247" name="Text Box 96"/>
            <p:cNvSpPr txBox="1">
              <a:spLocks noChangeArrowheads="1"/>
            </p:cNvSpPr>
            <p:nvPr/>
          </p:nvSpPr>
          <p:spPr bwMode="auto">
            <a:xfrm>
              <a:off x="6096000" y="4251325"/>
              <a:ext cx="457200" cy="228600"/>
            </a:xfrm>
            <a:prstGeom prst="rect">
              <a:avLst/>
            </a:prstGeom>
            <a:noFill/>
            <a:ln w="12700">
              <a:noFill/>
              <a:miter lim="800000"/>
              <a:headEnd type="none" w="sm" len="sm"/>
              <a:tailEnd type="none" w="sm" len="sm"/>
            </a:ln>
          </p:spPr>
          <p:txBody>
            <a:bodyPr>
              <a:spAutoFit/>
            </a:bodyPr>
            <a:lstStyle/>
            <a:p>
              <a:pPr>
                <a:spcBef>
                  <a:spcPct val="50000"/>
                </a:spcBef>
              </a:pPr>
              <a:r>
                <a:rPr lang="en-US" sz="900" b="0" u="none"/>
                <a:t>GA</a:t>
              </a:r>
            </a:p>
          </p:txBody>
        </p:sp>
        <p:sp>
          <p:nvSpPr>
            <p:cNvPr id="49248" name="Text Box 97"/>
            <p:cNvSpPr txBox="1">
              <a:spLocks noChangeArrowheads="1"/>
            </p:cNvSpPr>
            <p:nvPr/>
          </p:nvSpPr>
          <p:spPr bwMode="auto">
            <a:xfrm>
              <a:off x="8077200" y="3489325"/>
              <a:ext cx="762000" cy="228600"/>
            </a:xfrm>
            <a:prstGeom prst="rect">
              <a:avLst/>
            </a:prstGeom>
            <a:noFill/>
            <a:ln w="12700">
              <a:noFill/>
              <a:miter lim="800000"/>
              <a:headEnd type="none" w="sm" len="sm"/>
              <a:tailEnd type="none" w="sm" len="sm"/>
            </a:ln>
          </p:spPr>
          <p:txBody>
            <a:bodyPr>
              <a:spAutoFit/>
            </a:bodyPr>
            <a:lstStyle/>
            <a:p>
              <a:pPr>
                <a:spcBef>
                  <a:spcPct val="50000"/>
                </a:spcBef>
              </a:pPr>
              <a:r>
                <a:rPr lang="en-US" sz="900" b="0" u="none" dirty="0"/>
                <a:t>NJ </a:t>
              </a:r>
            </a:p>
          </p:txBody>
        </p:sp>
        <p:sp>
          <p:nvSpPr>
            <p:cNvPr id="49249" name="Text Box 98"/>
            <p:cNvSpPr txBox="1">
              <a:spLocks noChangeArrowheads="1"/>
            </p:cNvSpPr>
            <p:nvPr/>
          </p:nvSpPr>
          <p:spPr bwMode="auto">
            <a:xfrm rot="1379323">
              <a:off x="7696200" y="2879725"/>
              <a:ext cx="685800" cy="228600"/>
            </a:xfrm>
            <a:prstGeom prst="rect">
              <a:avLst/>
            </a:prstGeom>
            <a:noFill/>
            <a:ln w="12700">
              <a:noFill/>
              <a:miter lim="800000"/>
              <a:headEnd type="none" w="sm" len="sm"/>
              <a:tailEnd type="none" w="sm" len="sm"/>
            </a:ln>
          </p:spPr>
          <p:txBody>
            <a:bodyPr>
              <a:spAutoFit/>
            </a:bodyPr>
            <a:lstStyle/>
            <a:p>
              <a:pPr>
                <a:spcBef>
                  <a:spcPct val="50000"/>
                </a:spcBef>
              </a:pPr>
              <a:r>
                <a:rPr lang="en-US" sz="900" b="0" u="none" dirty="0"/>
                <a:t>CT </a:t>
              </a:r>
            </a:p>
          </p:txBody>
        </p:sp>
        <p:sp>
          <p:nvSpPr>
            <p:cNvPr id="49250" name="Line 99"/>
            <p:cNvSpPr>
              <a:spLocks noChangeShapeType="1"/>
            </p:cNvSpPr>
            <p:nvPr/>
          </p:nvSpPr>
          <p:spPr bwMode="auto">
            <a:xfrm>
              <a:off x="7315200" y="3032125"/>
              <a:ext cx="838200" cy="533400"/>
            </a:xfrm>
            <a:prstGeom prst="line">
              <a:avLst/>
            </a:prstGeom>
            <a:noFill/>
            <a:ln w="12700">
              <a:solidFill>
                <a:schemeClr val="tx1"/>
              </a:solidFill>
              <a:round/>
              <a:headEnd type="none" w="sm" len="sm"/>
              <a:tailEnd type="triangle" w="sm" len="sm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9251" name="Text Box 100"/>
            <p:cNvSpPr txBox="1">
              <a:spLocks noChangeArrowheads="1"/>
            </p:cNvSpPr>
            <p:nvPr/>
          </p:nvSpPr>
          <p:spPr bwMode="auto">
            <a:xfrm>
              <a:off x="8153400" y="2574925"/>
              <a:ext cx="685800" cy="228600"/>
            </a:xfrm>
            <a:prstGeom prst="rect">
              <a:avLst/>
            </a:prstGeom>
            <a:noFill/>
            <a:ln w="12700">
              <a:noFill/>
              <a:miter lim="800000"/>
              <a:headEnd type="none" w="sm" len="sm"/>
              <a:tailEnd type="none" w="sm" len="sm"/>
            </a:ln>
          </p:spPr>
          <p:txBody>
            <a:bodyPr>
              <a:spAutoFit/>
            </a:bodyPr>
            <a:lstStyle/>
            <a:p>
              <a:pPr>
                <a:spcBef>
                  <a:spcPct val="50000"/>
                </a:spcBef>
              </a:pPr>
              <a:r>
                <a:rPr lang="en-US" sz="900" b="0" u="none" dirty="0" smtClean="0"/>
                <a:t>MA</a:t>
              </a:r>
              <a:endParaRPr lang="en-US" sz="900" b="0" u="none" dirty="0"/>
            </a:p>
          </p:txBody>
        </p:sp>
        <p:sp>
          <p:nvSpPr>
            <p:cNvPr id="49252" name="Text Box 101"/>
            <p:cNvSpPr txBox="1">
              <a:spLocks noChangeArrowheads="1"/>
            </p:cNvSpPr>
            <p:nvPr/>
          </p:nvSpPr>
          <p:spPr bwMode="auto">
            <a:xfrm>
              <a:off x="7848600" y="2346325"/>
              <a:ext cx="685800" cy="228600"/>
            </a:xfrm>
            <a:prstGeom prst="rect">
              <a:avLst/>
            </a:prstGeom>
            <a:noFill/>
            <a:ln w="12700">
              <a:noFill/>
              <a:miter lim="800000"/>
              <a:headEnd type="none" w="sm" len="sm"/>
              <a:tailEnd type="none" w="sm" len="sm"/>
            </a:ln>
          </p:spPr>
          <p:txBody>
            <a:bodyPr>
              <a:spAutoFit/>
            </a:bodyPr>
            <a:lstStyle/>
            <a:p>
              <a:pPr>
                <a:spcBef>
                  <a:spcPct val="50000"/>
                </a:spcBef>
              </a:pPr>
              <a:r>
                <a:rPr lang="en-US" sz="900" b="0" u="none" dirty="0"/>
                <a:t>NH </a:t>
              </a:r>
            </a:p>
          </p:txBody>
        </p:sp>
        <p:sp>
          <p:nvSpPr>
            <p:cNvPr id="49253" name="Line 102"/>
            <p:cNvSpPr>
              <a:spLocks noChangeShapeType="1"/>
            </p:cNvSpPr>
            <p:nvPr/>
          </p:nvSpPr>
          <p:spPr bwMode="auto">
            <a:xfrm>
              <a:off x="7467600" y="2727325"/>
              <a:ext cx="304800" cy="152400"/>
            </a:xfrm>
            <a:prstGeom prst="line">
              <a:avLst/>
            </a:prstGeom>
            <a:noFill/>
            <a:ln w="12700">
              <a:solidFill>
                <a:schemeClr val="tx1"/>
              </a:solidFill>
              <a:round/>
              <a:headEnd type="none" w="sm" len="sm"/>
              <a:tailEnd type="triangle" w="sm" len="sm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9254" name="Line 103"/>
            <p:cNvSpPr>
              <a:spLocks noChangeShapeType="1"/>
            </p:cNvSpPr>
            <p:nvPr/>
          </p:nvSpPr>
          <p:spPr bwMode="auto">
            <a:xfrm flipV="1">
              <a:off x="7391400" y="2193925"/>
              <a:ext cx="609600" cy="152400"/>
            </a:xfrm>
            <a:prstGeom prst="line">
              <a:avLst/>
            </a:prstGeom>
            <a:noFill/>
            <a:ln w="12700">
              <a:solidFill>
                <a:schemeClr val="tx1"/>
              </a:solidFill>
              <a:round/>
              <a:headEnd type="none" w="sm" len="sm"/>
              <a:tailEnd type="triangle" w="sm" len="sm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9255" name="Line 104"/>
            <p:cNvSpPr>
              <a:spLocks noChangeShapeType="1"/>
            </p:cNvSpPr>
            <p:nvPr/>
          </p:nvSpPr>
          <p:spPr bwMode="auto">
            <a:xfrm>
              <a:off x="7239000" y="3260725"/>
              <a:ext cx="228600" cy="152400"/>
            </a:xfrm>
            <a:prstGeom prst="line">
              <a:avLst/>
            </a:prstGeom>
            <a:noFill/>
            <a:ln w="12700">
              <a:solidFill>
                <a:schemeClr val="tx1"/>
              </a:solidFill>
              <a:round/>
              <a:headEnd type="none" w="sm" len="sm"/>
              <a:tailEnd type="triangle" w="sm" len="sm"/>
            </a:ln>
          </p:spPr>
          <p:txBody>
            <a:bodyPr/>
            <a:lstStyle/>
            <a:p>
              <a:endParaRPr lang="en-US"/>
            </a:p>
          </p:txBody>
        </p:sp>
        <p:grpSp>
          <p:nvGrpSpPr>
            <p:cNvPr id="49256" name="Group 105"/>
            <p:cNvGrpSpPr>
              <a:grpSpLocks/>
            </p:cNvGrpSpPr>
            <p:nvPr/>
          </p:nvGrpSpPr>
          <p:grpSpPr bwMode="auto">
            <a:xfrm>
              <a:off x="7162804" y="3444880"/>
              <a:ext cx="896938" cy="800101"/>
              <a:chOff x="4512" y="2102"/>
              <a:chExt cx="565" cy="504"/>
            </a:xfrm>
          </p:grpSpPr>
          <p:sp>
            <p:nvSpPr>
              <p:cNvPr id="49369" name="Text Box 106"/>
              <p:cNvSpPr txBox="1">
                <a:spLocks noChangeArrowheads="1"/>
              </p:cNvSpPr>
              <p:nvPr/>
            </p:nvSpPr>
            <p:spPr bwMode="auto">
              <a:xfrm>
                <a:off x="4837" y="2461"/>
                <a:ext cx="240" cy="145"/>
              </a:xfrm>
              <a:prstGeom prst="rect">
                <a:avLst/>
              </a:prstGeom>
              <a:noFill/>
              <a:ln w="12700">
                <a:noFill/>
                <a:miter lim="800000"/>
                <a:headEnd type="none" w="sm" len="sm"/>
                <a:tailEnd type="none" w="sm" len="sm"/>
              </a:ln>
            </p:spPr>
            <p:txBody>
              <a:bodyPr>
                <a:spAutoFit/>
              </a:bodyPr>
              <a:lstStyle/>
              <a:p>
                <a:pPr>
                  <a:spcBef>
                    <a:spcPct val="50000"/>
                  </a:spcBef>
                </a:pPr>
                <a:r>
                  <a:rPr lang="en-US" sz="900" b="0" u="none" dirty="0"/>
                  <a:t>MD     </a:t>
                </a:r>
              </a:p>
            </p:txBody>
          </p:sp>
          <p:sp>
            <p:nvSpPr>
              <p:cNvPr id="49370" name="Line 107"/>
              <p:cNvSpPr>
                <a:spLocks noChangeShapeType="1"/>
              </p:cNvSpPr>
              <p:nvPr/>
            </p:nvSpPr>
            <p:spPr bwMode="auto">
              <a:xfrm>
                <a:off x="4512" y="2102"/>
                <a:ext cx="384" cy="288"/>
              </a:xfrm>
              <a:prstGeom prst="line">
                <a:avLst/>
              </a:prstGeom>
              <a:noFill/>
              <a:ln w="12700">
                <a:solidFill>
                  <a:schemeClr val="tx1"/>
                </a:solidFill>
                <a:round/>
                <a:headEnd type="none" w="sm" len="sm"/>
                <a:tailEnd type="triangle" w="sm" len="sm"/>
              </a:ln>
            </p:spPr>
            <p:txBody>
              <a:bodyPr/>
              <a:lstStyle/>
              <a:p>
                <a:endParaRPr lang="en-US"/>
              </a:p>
            </p:txBody>
          </p:sp>
        </p:grpSp>
        <p:sp>
          <p:nvSpPr>
            <p:cNvPr id="49257" name="Text Box 108"/>
            <p:cNvSpPr txBox="1">
              <a:spLocks noChangeArrowheads="1"/>
            </p:cNvSpPr>
            <p:nvPr/>
          </p:nvSpPr>
          <p:spPr bwMode="auto">
            <a:xfrm>
              <a:off x="7924800" y="2041525"/>
              <a:ext cx="609600" cy="228600"/>
            </a:xfrm>
            <a:prstGeom prst="rect">
              <a:avLst/>
            </a:prstGeom>
            <a:noFill/>
            <a:ln w="12700">
              <a:noFill/>
              <a:miter lim="800000"/>
              <a:headEnd type="none" w="sm" len="sm"/>
              <a:tailEnd type="none" w="sm" len="sm"/>
            </a:ln>
          </p:spPr>
          <p:txBody>
            <a:bodyPr>
              <a:spAutoFit/>
            </a:bodyPr>
            <a:lstStyle/>
            <a:p>
              <a:pPr>
                <a:spcBef>
                  <a:spcPct val="50000"/>
                </a:spcBef>
              </a:pPr>
              <a:r>
                <a:rPr lang="en-US" sz="900" b="0" u="none" dirty="0"/>
                <a:t>VT </a:t>
              </a:r>
            </a:p>
          </p:txBody>
        </p:sp>
        <p:sp>
          <p:nvSpPr>
            <p:cNvPr id="49258" name="Text Box 109"/>
            <p:cNvSpPr txBox="1">
              <a:spLocks noChangeArrowheads="1"/>
            </p:cNvSpPr>
            <p:nvPr/>
          </p:nvSpPr>
          <p:spPr bwMode="auto">
            <a:xfrm>
              <a:off x="7543800" y="1889125"/>
              <a:ext cx="381000" cy="228600"/>
            </a:xfrm>
            <a:prstGeom prst="rect">
              <a:avLst/>
            </a:prstGeom>
            <a:noFill/>
            <a:ln w="12700">
              <a:noFill/>
              <a:miter lim="800000"/>
              <a:headEnd type="none" w="sm" len="sm"/>
              <a:tailEnd type="none" w="sm" len="sm"/>
            </a:ln>
          </p:spPr>
          <p:txBody>
            <a:bodyPr>
              <a:spAutoFit/>
            </a:bodyPr>
            <a:lstStyle/>
            <a:p>
              <a:pPr>
                <a:spcBef>
                  <a:spcPct val="50000"/>
                </a:spcBef>
              </a:pPr>
              <a:r>
                <a:rPr lang="en-US" sz="900" b="0" u="none"/>
                <a:t>ME</a:t>
              </a:r>
            </a:p>
          </p:txBody>
        </p:sp>
        <p:sp>
          <p:nvSpPr>
            <p:cNvPr id="49259" name="Text Box 110"/>
            <p:cNvSpPr txBox="1">
              <a:spLocks noChangeArrowheads="1"/>
            </p:cNvSpPr>
            <p:nvPr/>
          </p:nvSpPr>
          <p:spPr bwMode="auto">
            <a:xfrm>
              <a:off x="6934200" y="2270125"/>
              <a:ext cx="381000" cy="228600"/>
            </a:xfrm>
            <a:prstGeom prst="rect">
              <a:avLst/>
            </a:prstGeom>
            <a:noFill/>
            <a:ln w="12700">
              <a:noFill/>
              <a:miter lim="800000"/>
              <a:headEnd type="none" w="sm" len="sm"/>
              <a:tailEnd type="none" w="sm" len="sm"/>
            </a:ln>
          </p:spPr>
          <p:txBody>
            <a:bodyPr>
              <a:spAutoFit/>
            </a:bodyPr>
            <a:lstStyle/>
            <a:p>
              <a:pPr>
                <a:spcBef>
                  <a:spcPct val="50000"/>
                </a:spcBef>
              </a:pPr>
              <a:r>
                <a:rPr lang="en-US" sz="900" b="0" u="none" dirty="0"/>
                <a:t>NY</a:t>
              </a:r>
            </a:p>
          </p:txBody>
        </p:sp>
        <p:sp>
          <p:nvSpPr>
            <p:cNvPr id="49260" name="Text Box 111"/>
            <p:cNvSpPr txBox="1">
              <a:spLocks noChangeArrowheads="1"/>
            </p:cNvSpPr>
            <p:nvPr/>
          </p:nvSpPr>
          <p:spPr bwMode="auto">
            <a:xfrm>
              <a:off x="6629400" y="2803525"/>
              <a:ext cx="381000" cy="228600"/>
            </a:xfrm>
            <a:prstGeom prst="rect">
              <a:avLst/>
            </a:prstGeom>
            <a:noFill/>
            <a:ln w="12700">
              <a:noFill/>
              <a:miter lim="800000"/>
              <a:headEnd type="none" w="sm" len="sm"/>
              <a:tailEnd type="none" w="sm" len="sm"/>
            </a:ln>
          </p:spPr>
          <p:txBody>
            <a:bodyPr>
              <a:spAutoFit/>
            </a:bodyPr>
            <a:lstStyle/>
            <a:p>
              <a:pPr>
                <a:spcBef>
                  <a:spcPct val="50000"/>
                </a:spcBef>
              </a:pPr>
              <a:r>
                <a:rPr lang="en-US" sz="900" b="0" u="none" dirty="0"/>
                <a:t>PA</a:t>
              </a:r>
            </a:p>
          </p:txBody>
        </p:sp>
        <p:sp>
          <p:nvSpPr>
            <p:cNvPr id="49261" name="Text Box 112"/>
            <p:cNvSpPr txBox="1">
              <a:spLocks noChangeArrowheads="1"/>
            </p:cNvSpPr>
            <p:nvPr/>
          </p:nvSpPr>
          <p:spPr bwMode="auto">
            <a:xfrm>
              <a:off x="6055425" y="3222125"/>
              <a:ext cx="381000" cy="228600"/>
            </a:xfrm>
            <a:prstGeom prst="rect">
              <a:avLst/>
            </a:prstGeom>
            <a:noFill/>
            <a:ln w="12700">
              <a:noFill/>
              <a:miter lim="800000"/>
              <a:headEnd type="none" w="sm" len="sm"/>
              <a:tailEnd type="none" w="sm" len="sm"/>
            </a:ln>
          </p:spPr>
          <p:txBody>
            <a:bodyPr>
              <a:spAutoFit/>
            </a:bodyPr>
            <a:lstStyle/>
            <a:p>
              <a:pPr>
                <a:spcBef>
                  <a:spcPct val="50000"/>
                </a:spcBef>
              </a:pPr>
              <a:r>
                <a:rPr lang="en-US" sz="900" b="0" u="none" dirty="0"/>
                <a:t>OH</a:t>
              </a:r>
            </a:p>
          </p:txBody>
        </p:sp>
        <p:sp>
          <p:nvSpPr>
            <p:cNvPr id="49262" name="Text Box 113"/>
            <p:cNvSpPr txBox="1">
              <a:spLocks noChangeArrowheads="1"/>
            </p:cNvSpPr>
            <p:nvPr/>
          </p:nvSpPr>
          <p:spPr bwMode="auto">
            <a:xfrm>
              <a:off x="6400800" y="3260725"/>
              <a:ext cx="381000" cy="228600"/>
            </a:xfrm>
            <a:prstGeom prst="rect">
              <a:avLst/>
            </a:prstGeom>
            <a:noFill/>
            <a:ln w="12700">
              <a:noFill/>
              <a:miter lim="800000"/>
              <a:headEnd type="none" w="sm" len="sm"/>
              <a:tailEnd type="none" w="sm" len="sm"/>
            </a:ln>
          </p:spPr>
          <p:txBody>
            <a:bodyPr>
              <a:spAutoFit/>
            </a:bodyPr>
            <a:lstStyle/>
            <a:p>
              <a:pPr>
                <a:spcBef>
                  <a:spcPct val="50000"/>
                </a:spcBef>
              </a:pPr>
              <a:r>
                <a:rPr lang="en-US" sz="900" b="0" u="none" dirty="0"/>
                <a:t>WV</a:t>
              </a:r>
            </a:p>
          </p:txBody>
        </p:sp>
        <p:sp>
          <p:nvSpPr>
            <p:cNvPr id="49263" name="Line 114"/>
            <p:cNvSpPr>
              <a:spLocks noChangeShapeType="1"/>
            </p:cNvSpPr>
            <p:nvPr/>
          </p:nvSpPr>
          <p:spPr bwMode="auto">
            <a:xfrm>
              <a:off x="7467600" y="2422525"/>
              <a:ext cx="457200" cy="0"/>
            </a:xfrm>
            <a:prstGeom prst="line">
              <a:avLst/>
            </a:prstGeom>
            <a:noFill/>
            <a:ln w="12700">
              <a:solidFill>
                <a:schemeClr val="tx1"/>
              </a:solidFill>
              <a:round/>
              <a:headEnd type="none" w="sm" len="sm"/>
              <a:tailEnd type="triangle" w="sm" len="sm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9264" name="Text Box 115">
              <a:hlinkClick r:id="rId11"/>
            </p:cNvPr>
            <p:cNvSpPr txBox="1">
              <a:spLocks noChangeArrowheads="1"/>
            </p:cNvSpPr>
            <p:nvPr/>
          </p:nvSpPr>
          <p:spPr bwMode="auto">
            <a:xfrm>
              <a:off x="5980855" y="3480582"/>
              <a:ext cx="457200" cy="228600"/>
            </a:xfrm>
            <a:prstGeom prst="rect">
              <a:avLst/>
            </a:prstGeom>
            <a:noFill/>
            <a:ln w="12700">
              <a:noFill/>
              <a:miter lim="800000"/>
              <a:headEnd type="none" w="sm" len="sm"/>
              <a:tailEnd type="none" w="sm" len="sm"/>
            </a:ln>
          </p:spPr>
          <p:txBody>
            <a:bodyPr>
              <a:spAutoFit/>
            </a:bodyPr>
            <a:lstStyle/>
            <a:p>
              <a:pPr>
                <a:spcBef>
                  <a:spcPct val="50000"/>
                </a:spcBef>
              </a:pPr>
              <a:r>
                <a:rPr lang="en-US" sz="900" b="0" u="none" dirty="0"/>
                <a:t>KY</a:t>
              </a:r>
            </a:p>
          </p:txBody>
        </p:sp>
        <p:sp>
          <p:nvSpPr>
            <p:cNvPr id="49265" name="Text Box 116"/>
            <p:cNvSpPr txBox="1">
              <a:spLocks noChangeArrowheads="1"/>
            </p:cNvSpPr>
            <p:nvPr/>
          </p:nvSpPr>
          <p:spPr bwMode="auto">
            <a:xfrm>
              <a:off x="5638800" y="3108325"/>
              <a:ext cx="381000" cy="228600"/>
            </a:xfrm>
            <a:prstGeom prst="rect">
              <a:avLst/>
            </a:prstGeom>
            <a:noFill/>
            <a:ln w="12700">
              <a:noFill/>
              <a:miter lim="800000"/>
              <a:headEnd type="none" w="sm" len="sm"/>
              <a:tailEnd type="none" w="sm" len="sm"/>
            </a:ln>
          </p:spPr>
          <p:txBody>
            <a:bodyPr>
              <a:spAutoFit/>
            </a:bodyPr>
            <a:lstStyle/>
            <a:p>
              <a:pPr>
                <a:spcBef>
                  <a:spcPct val="50000"/>
                </a:spcBef>
              </a:pPr>
              <a:r>
                <a:rPr lang="en-US" sz="900" b="0" u="none"/>
                <a:t>IN</a:t>
              </a:r>
            </a:p>
          </p:txBody>
        </p:sp>
        <p:sp>
          <p:nvSpPr>
            <p:cNvPr id="49266" name="Text Box 117"/>
            <p:cNvSpPr txBox="1">
              <a:spLocks noChangeArrowheads="1"/>
            </p:cNvSpPr>
            <p:nvPr/>
          </p:nvSpPr>
          <p:spPr bwMode="auto">
            <a:xfrm>
              <a:off x="5562600" y="3870325"/>
              <a:ext cx="457200" cy="228600"/>
            </a:xfrm>
            <a:prstGeom prst="rect">
              <a:avLst/>
            </a:prstGeom>
            <a:noFill/>
            <a:ln w="12700">
              <a:noFill/>
              <a:miter lim="800000"/>
              <a:headEnd type="none" w="sm" len="sm"/>
              <a:tailEnd type="none" w="sm" len="sm"/>
            </a:ln>
          </p:spPr>
          <p:txBody>
            <a:bodyPr>
              <a:spAutoFit/>
            </a:bodyPr>
            <a:lstStyle/>
            <a:p>
              <a:pPr>
                <a:spcBef>
                  <a:spcPct val="50000"/>
                </a:spcBef>
              </a:pPr>
              <a:r>
                <a:rPr lang="en-US" sz="900" b="0" u="none"/>
                <a:t>TN</a:t>
              </a:r>
            </a:p>
          </p:txBody>
        </p:sp>
        <p:sp>
          <p:nvSpPr>
            <p:cNvPr id="49267" name="Text Box 118"/>
            <p:cNvSpPr txBox="1">
              <a:spLocks noChangeArrowheads="1"/>
            </p:cNvSpPr>
            <p:nvPr/>
          </p:nvSpPr>
          <p:spPr bwMode="auto">
            <a:xfrm>
              <a:off x="5334000" y="4327525"/>
              <a:ext cx="381000" cy="228600"/>
            </a:xfrm>
            <a:prstGeom prst="rect">
              <a:avLst/>
            </a:prstGeom>
            <a:noFill/>
            <a:ln w="12700">
              <a:noFill/>
              <a:miter lim="800000"/>
              <a:headEnd type="none" w="sm" len="sm"/>
              <a:tailEnd type="none" w="sm" len="sm"/>
            </a:ln>
          </p:spPr>
          <p:txBody>
            <a:bodyPr>
              <a:spAutoFit/>
            </a:bodyPr>
            <a:lstStyle/>
            <a:p>
              <a:pPr>
                <a:spcBef>
                  <a:spcPct val="50000"/>
                </a:spcBef>
              </a:pPr>
              <a:r>
                <a:rPr lang="en-US" sz="900" b="0" u="none"/>
                <a:t>MS</a:t>
              </a:r>
            </a:p>
          </p:txBody>
        </p:sp>
        <p:sp>
          <p:nvSpPr>
            <p:cNvPr id="49268" name="Text Box 119"/>
            <p:cNvSpPr txBox="1">
              <a:spLocks noChangeArrowheads="1"/>
            </p:cNvSpPr>
            <p:nvPr/>
          </p:nvSpPr>
          <p:spPr bwMode="auto">
            <a:xfrm>
              <a:off x="4876800" y="4022725"/>
              <a:ext cx="457200" cy="228600"/>
            </a:xfrm>
            <a:prstGeom prst="rect">
              <a:avLst/>
            </a:prstGeom>
            <a:noFill/>
            <a:ln w="12700">
              <a:noFill/>
              <a:miter lim="800000"/>
              <a:headEnd type="none" w="sm" len="sm"/>
              <a:tailEnd type="none" w="sm" len="sm"/>
            </a:ln>
          </p:spPr>
          <p:txBody>
            <a:bodyPr>
              <a:spAutoFit/>
            </a:bodyPr>
            <a:lstStyle/>
            <a:p>
              <a:pPr>
                <a:spcBef>
                  <a:spcPct val="50000"/>
                </a:spcBef>
              </a:pPr>
              <a:r>
                <a:rPr lang="en-US" sz="900" b="0" u="none"/>
                <a:t>AR</a:t>
              </a:r>
            </a:p>
          </p:txBody>
        </p:sp>
        <p:sp>
          <p:nvSpPr>
            <p:cNvPr id="49269" name="Text Box 120"/>
            <p:cNvSpPr txBox="1">
              <a:spLocks noChangeArrowheads="1"/>
            </p:cNvSpPr>
            <p:nvPr/>
          </p:nvSpPr>
          <p:spPr bwMode="auto">
            <a:xfrm>
              <a:off x="4876800" y="3413125"/>
              <a:ext cx="457200" cy="228600"/>
            </a:xfrm>
            <a:prstGeom prst="rect">
              <a:avLst/>
            </a:prstGeom>
            <a:noFill/>
            <a:ln w="12700">
              <a:noFill/>
              <a:miter lim="800000"/>
              <a:headEnd type="none" w="sm" len="sm"/>
              <a:tailEnd type="none" w="sm" len="sm"/>
            </a:ln>
          </p:spPr>
          <p:txBody>
            <a:bodyPr>
              <a:spAutoFit/>
            </a:bodyPr>
            <a:lstStyle/>
            <a:p>
              <a:pPr>
                <a:spcBef>
                  <a:spcPct val="50000"/>
                </a:spcBef>
              </a:pPr>
              <a:r>
                <a:rPr lang="en-US" sz="900" b="0" u="none"/>
                <a:t>MO</a:t>
              </a:r>
            </a:p>
          </p:txBody>
        </p:sp>
        <p:sp>
          <p:nvSpPr>
            <p:cNvPr id="49270" name="Text Box 121"/>
            <p:cNvSpPr txBox="1">
              <a:spLocks noChangeArrowheads="1"/>
            </p:cNvSpPr>
            <p:nvPr/>
          </p:nvSpPr>
          <p:spPr bwMode="auto">
            <a:xfrm>
              <a:off x="4724400" y="2879725"/>
              <a:ext cx="457200" cy="228600"/>
            </a:xfrm>
            <a:prstGeom prst="rect">
              <a:avLst/>
            </a:prstGeom>
            <a:noFill/>
            <a:ln w="12700">
              <a:noFill/>
              <a:miter lim="800000"/>
              <a:headEnd type="none" w="sm" len="sm"/>
              <a:tailEnd type="none" w="sm" len="sm"/>
            </a:ln>
          </p:spPr>
          <p:txBody>
            <a:bodyPr>
              <a:spAutoFit/>
            </a:bodyPr>
            <a:lstStyle/>
            <a:p>
              <a:pPr>
                <a:spcBef>
                  <a:spcPct val="50000"/>
                </a:spcBef>
              </a:pPr>
              <a:r>
                <a:rPr lang="en-US" sz="900" b="0" u="none" dirty="0">
                  <a:solidFill>
                    <a:schemeClr val="bg1"/>
                  </a:solidFill>
                </a:rPr>
                <a:t>IA</a:t>
              </a:r>
            </a:p>
          </p:txBody>
        </p:sp>
        <p:sp>
          <p:nvSpPr>
            <p:cNvPr id="49271" name="Text Box 122"/>
            <p:cNvSpPr txBox="1">
              <a:spLocks noChangeArrowheads="1"/>
            </p:cNvSpPr>
            <p:nvPr/>
          </p:nvSpPr>
          <p:spPr bwMode="auto">
            <a:xfrm>
              <a:off x="5334000" y="3108325"/>
              <a:ext cx="304800" cy="228600"/>
            </a:xfrm>
            <a:prstGeom prst="rect">
              <a:avLst/>
            </a:prstGeom>
            <a:noFill/>
            <a:ln w="12700">
              <a:noFill/>
              <a:miter lim="800000"/>
              <a:headEnd type="none" w="sm" len="sm"/>
              <a:tailEnd type="none" w="sm" len="sm"/>
            </a:ln>
          </p:spPr>
          <p:txBody>
            <a:bodyPr>
              <a:spAutoFit/>
            </a:bodyPr>
            <a:lstStyle/>
            <a:p>
              <a:pPr>
                <a:spcBef>
                  <a:spcPct val="50000"/>
                </a:spcBef>
              </a:pPr>
              <a:r>
                <a:rPr lang="en-US" sz="900" b="0" u="none"/>
                <a:t>IL</a:t>
              </a:r>
            </a:p>
          </p:txBody>
        </p:sp>
        <p:sp>
          <p:nvSpPr>
            <p:cNvPr id="49272" name="Text Box 123"/>
            <p:cNvSpPr txBox="1">
              <a:spLocks noChangeArrowheads="1"/>
            </p:cNvSpPr>
            <p:nvPr/>
          </p:nvSpPr>
          <p:spPr bwMode="auto">
            <a:xfrm>
              <a:off x="5768975" y="2517775"/>
              <a:ext cx="457200" cy="228600"/>
            </a:xfrm>
            <a:prstGeom prst="rect">
              <a:avLst/>
            </a:prstGeom>
            <a:noFill/>
            <a:ln w="12700">
              <a:noFill/>
              <a:miter lim="800000"/>
              <a:headEnd type="none" w="sm" len="sm"/>
              <a:tailEnd type="none" w="sm" len="sm"/>
            </a:ln>
          </p:spPr>
          <p:txBody>
            <a:bodyPr>
              <a:spAutoFit/>
            </a:bodyPr>
            <a:lstStyle/>
            <a:p>
              <a:pPr>
                <a:spcBef>
                  <a:spcPct val="50000"/>
                </a:spcBef>
              </a:pPr>
              <a:r>
                <a:rPr lang="en-US" sz="900" b="0" u="none"/>
                <a:t>MI</a:t>
              </a:r>
            </a:p>
          </p:txBody>
        </p:sp>
        <p:sp>
          <p:nvSpPr>
            <p:cNvPr id="49273" name="Text Box 124"/>
            <p:cNvSpPr txBox="1">
              <a:spLocks noChangeArrowheads="1"/>
            </p:cNvSpPr>
            <p:nvPr/>
          </p:nvSpPr>
          <p:spPr bwMode="auto">
            <a:xfrm>
              <a:off x="4572000" y="2117725"/>
              <a:ext cx="457200" cy="228600"/>
            </a:xfrm>
            <a:prstGeom prst="rect">
              <a:avLst/>
            </a:prstGeom>
            <a:noFill/>
            <a:ln w="12700">
              <a:noFill/>
              <a:miter lim="800000"/>
              <a:headEnd type="none" w="sm" len="sm"/>
              <a:tailEnd type="none" w="sm" len="sm"/>
            </a:ln>
          </p:spPr>
          <p:txBody>
            <a:bodyPr>
              <a:spAutoFit/>
            </a:bodyPr>
            <a:lstStyle/>
            <a:p>
              <a:pPr>
                <a:spcBef>
                  <a:spcPct val="50000"/>
                </a:spcBef>
              </a:pPr>
              <a:r>
                <a:rPr lang="en-US" sz="900" b="0" u="none" dirty="0">
                  <a:solidFill>
                    <a:schemeClr val="bg1"/>
                  </a:solidFill>
                </a:rPr>
                <a:t>MN</a:t>
              </a:r>
            </a:p>
          </p:txBody>
        </p:sp>
        <p:sp>
          <p:nvSpPr>
            <p:cNvPr id="49274" name="Text Box 125"/>
            <p:cNvSpPr txBox="1">
              <a:spLocks noChangeArrowheads="1"/>
            </p:cNvSpPr>
            <p:nvPr/>
          </p:nvSpPr>
          <p:spPr bwMode="auto">
            <a:xfrm>
              <a:off x="3886200" y="1965325"/>
              <a:ext cx="457200" cy="228600"/>
            </a:xfrm>
            <a:prstGeom prst="rect">
              <a:avLst/>
            </a:prstGeom>
            <a:noFill/>
            <a:ln w="12700">
              <a:noFill/>
              <a:miter lim="800000"/>
              <a:headEnd type="none" w="sm" len="sm"/>
              <a:tailEnd type="none" w="sm" len="sm"/>
            </a:ln>
          </p:spPr>
          <p:txBody>
            <a:bodyPr>
              <a:spAutoFit/>
            </a:bodyPr>
            <a:lstStyle/>
            <a:p>
              <a:pPr>
                <a:spcBef>
                  <a:spcPct val="50000"/>
                </a:spcBef>
              </a:pPr>
              <a:r>
                <a:rPr lang="en-US" sz="900" u="none" dirty="0">
                  <a:solidFill>
                    <a:schemeClr val="bg1"/>
                  </a:solidFill>
                </a:rPr>
                <a:t>ND</a:t>
              </a:r>
            </a:p>
          </p:txBody>
        </p:sp>
        <p:sp>
          <p:nvSpPr>
            <p:cNvPr id="49275" name="Text Box 126"/>
            <p:cNvSpPr txBox="1">
              <a:spLocks noChangeArrowheads="1"/>
            </p:cNvSpPr>
            <p:nvPr/>
          </p:nvSpPr>
          <p:spPr bwMode="auto">
            <a:xfrm>
              <a:off x="3886200" y="2422525"/>
              <a:ext cx="457200" cy="228600"/>
            </a:xfrm>
            <a:prstGeom prst="rect">
              <a:avLst/>
            </a:prstGeom>
            <a:noFill/>
            <a:ln w="12700">
              <a:noFill/>
              <a:miter lim="800000"/>
              <a:headEnd type="none" w="sm" len="sm"/>
              <a:tailEnd type="none" w="sm" len="sm"/>
            </a:ln>
          </p:spPr>
          <p:txBody>
            <a:bodyPr>
              <a:spAutoFit/>
            </a:bodyPr>
            <a:lstStyle/>
            <a:p>
              <a:pPr>
                <a:spcBef>
                  <a:spcPct val="50000"/>
                </a:spcBef>
              </a:pPr>
              <a:r>
                <a:rPr lang="en-US" sz="900" u="none" dirty="0">
                  <a:solidFill>
                    <a:schemeClr val="bg1"/>
                  </a:solidFill>
                </a:rPr>
                <a:t>SD</a:t>
              </a:r>
            </a:p>
          </p:txBody>
        </p:sp>
        <p:sp>
          <p:nvSpPr>
            <p:cNvPr id="49276" name="Text Box 127"/>
            <p:cNvSpPr txBox="1">
              <a:spLocks noChangeArrowheads="1"/>
            </p:cNvSpPr>
            <p:nvPr/>
          </p:nvSpPr>
          <p:spPr bwMode="auto">
            <a:xfrm>
              <a:off x="3962400" y="2955925"/>
              <a:ext cx="457200" cy="228600"/>
            </a:xfrm>
            <a:prstGeom prst="rect">
              <a:avLst/>
            </a:prstGeom>
            <a:noFill/>
            <a:ln w="12700">
              <a:noFill/>
              <a:miter lim="800000"/>
              <a:headEnd type="none" w="sm" len="sm"/>
              <a:tailEnd type="none" w="sm" len="sm"/>
            </a:ln>
          </p:spPr>
          <p:txBody>
            <a:bodyPr>
              <a:spAutoFit/>
            </a:bodyPr>
            <a:lstStyle/>
            <a:p>
              <a:pPr>
                <a:spcBef>
                  <a:spcPct val="50000"/>
                </a:spcBef>
              </a:pPr>
              <a:r>
                <a:rPr lang="en-US" sz="900" u="none" dirty="0"/>
                <a:t>NE</a:t>
              </a:r>
            </a:p>
          </p:txBody>
        </p:sp>
        <p:sp>
          <p:nvSpPr>
            <p:cNvPr id="49277" name="Text Box 128"/>
            <p:cNvSpPr txBox="1">
              <a:spLocks noChangeArrowheads="1"/>
            </p:cNvSpPr>
            <p:nvPr/>
          </p:nvSpPr>
          <p:spPr bwMode="auto">
            <a:xfrm>
              <a:off x="4114800" y="3489325"/>
              <a:ext cx="457200" cy="228600"/>
            </a:xfrm>
            <a:prstGeom prst="rect">
              <a:avLst/>
            </a:prstGeom>
            <a:noFill/>
            <a:ln w="12700">
              <a:noFill/>
              <a:miter lim="800000"/>
              <a:headEnd type="none" w="sm" len="sm"/>
              <a:tailEnd type="none" w="sm" len="sm"/>
            </a:ln>
          </p:spPr>
          <p:txBody>
            <a:bodyPr>
              <a:spAutoFit/>
            </a:bodyPr>
            <a:lstStyle/>
            <a:p>
              <a:pPr>
                <a:spcBef>
                  <a:spcPct val="50000"/>
                </a:spcBef>
              </a:pPr>
              <a:r>
                <a:rPr lang="en-US" sz="900" u="none" dirty="0"/>
                <a:t>KS</a:t>
              </a:r>
            </a:p>
          </p:txBody>
        </p:sp>
        <p:sp>
          <p:nvSpPr>
            <p:cNvPr id="49278" name="Text Box 129"/>
            <p:cNvSpPr txBox="1">
              <a:spLocks noChangeArrowheads="1"/>
            </p:cNvSpPr>
            <p:nvPr/>
          </p:nvSpPr>
          <p:spPr bwMode="auto">
            <a:xfrm>
              <a:off x="3048000" y="2651125"/>
              <a:ext cx="457200" cy="228600"/>
            </a:xfrm>
            <a:prstGeom prst="rect">
              <a:avLst/>
            </a:prstGeom>
            <a:noFill/>
            <a:ln w="12700">
              <a:noFill/>
              <a:miter lim="800000"/>
              <a:headEnd type="none" w="sm" len="sm"/>
              <a:tailEnd type="none" w="sm" len="sm"/>
            </a:ln>
          </p:spPr>
          <p:txBody>
            <a:bodyPr>
              <a:spAutoFit/>
            </a:bodyPr>
            <a:lstStyle/>
            <a:p>
              <a:pPr>
                <a:spcBef>
                  <a:spcPct val="50000"/>
                </a:spcBef>
              </a:pPr>
              <a:r>
                <a:rPr lang="en-US" sz="900" u="none" dirty="0">
                  <a:solidFill>
                    <a:schemeClr val="bg1"/>
                  </a:solidFill>
                </a:rPr>
                <a:t>WY</a:t>
              </a:r>
            </a:p>
          </p:txBody>
        </p:sp>
        <p:sp>
          <p:nvSpPr>
            <p:cNvPr id="49279" name="Text Box 130"/>
            <p:cNvSpPr txBox="1">
              <a:spLocks noChangeArrowheads="1"/>
            </p:cNvSpPr>
            <p:nvPr/>
          </p:nvSpPr>
          <p:spPr bwMode="auto">
            <a:xfrm>
              <a:off x="3200400" y="3336925"/>
              <a:ext cx="457200" cy="228600"/>
            </a:xfrm>
            <a:prstGeom prst="rect">
              <a:avLst/>
            </a:prstGeom>
            <a:noFill/>
            <a:ln w="12700">
              <a:noFill/>
              <a:miter lim="800000"/>
              <a:headEnd type="none" w="sm" len="sm"/>
              <a:tailEnd type="none" w="sm" len="sm"/>
            </a:ln>
          </p:spPr>
          <p:txBody>
            <a:bodyPr>
              <a:spAutoFit/>
            </a:bodyPr>
            <a:lstStyle/>
            <a:p>
              <a:pPr>
                <a:spcBef>
                  <a:spcPct val="50000"/>
                </a:spcBef>
              </a:pPr>
              <a:r>
                <a:rPr lang="en-US" sz="900" u="none" dirty="0">
                  <a:solidFill>
                    <a:schemeClr val="bg1"/>
                  </a:solidFill>
                </a:rPr>
                <a:t>CO</a:t>
              </a:r>
            </a:p>
          </p:txBody>
        </p:sp>
        <p:sp>
          <p:nvSpPr>
            <p:cNvPr id="49280" name="Text Box 131"/>
            <p:cNvSpPr txBox="1">
              <a:spLocks noChangeArrowheads="1"/>
            </p:cNvSpPr>
            <p:nvPr/>
          </p:nvSpPr>
          <p:spPr bwMode="auto">
            <a:xfrm>
              <a:off x="3048000" y="4022725"/>
              <a:ext cx="457200" cy="228600"/>
            </a:xfrm>
            <a:prstGeom prst="rect">
              <a:avLst/>
            </a:prstGeom>
            <a:noFill/>
            <a:ln w="12700">
              <a:noFill/>
              <a:miter lim="800000"/>
              <a:headEnd type="none" w="sm" len="sm"/>
              <a:tailEnd type="none" w="sm" len="sm"/>
            </a:ln>
          </p:spPr>
          <p:txBody>
            <a:bodyPr>
              <a:spAutoFit/>
            </a:bodyPr>
            <a:lstStyle/>
            <a:p>
              <a:pPr>
                <a:spcBef>
                  <a:spcPct val="50000"/>
                </a:spcBef>
              </a:pPr>
              <a:r>
                <a:rPr lang="en-US" sz="900" u="none" dirty="0">
                  <a:solidFill>
                    <a:schemeClr val="bg1"/>
                  </a:solidFill>
                </a:rPr>
                <a:t>NM</a:t>
              </a:r>
            </a:p>
          </p:txBody>
        </p:sp>
        <p:sp>
          <p:nvSpPr>
            <p:cNvPr id="49281" name="Text Box 132"/>
            <p:cNvSpPr txBox="1">
              <a:spLocks noChangeArrowheads="1"/>
            </p:cNvSpPr>
            <p:nvPr/>
          </p:nvSpPr>
          <p:spPr bwMode="auto">
            <a:xfrm>
              <a:off x="2362200" y="4022725"/>
              <a:ext cx="457200" cy="228600"/>
            </a:xfrm>
            <a:prstGeom prst="rect">
              <a:avLst/>
            </a:prstGeom>
            <a:noFill/>
            <a:ln w="12700">
              <a:noFill/>
              <a:miter lim="800000"/>
              <a:headEnd type="none" w="sm" len="sm"/>
              <a:tailEnd type="none" w="sm" len="sm"/>
            </a:ln>
          </p:spPr>
          <p:txBody>
            <a:bodyPr>
              <a:spAutoFit/>
            </a:bodyPr>
            <a:lstStyle/>
            <a:p>
              <a:pPr>
                <a:spcBef>
                  <a:spcPct val="50000"/>
                </a:spcBef>
              </a:pPr>
              <a:r>
                <a:rPr lang="en-US" sz="900" u="none" dirty="0">
                  <a:solidFill>
                    <a:schemeClr val="bg1"/>
                  </a:solidFill>
                </a:rPr>
                <a:t>AZ</a:t>
              </a:r>
            </a:p>
          </p:txBody>
        </p:sp>
        <p:sp>
          <p:nvSpPr>
            <p:cNvPr id="49282" name="Text Box 133"/>
            <p:cNvSpPr txBox="1">
              <a:spLocks noChangeArrowheads="1"/>
            </p:cNvSpPr>
            <p:nvPr/>
          </p:nvSpPr>
          <p:spPr bwMode="auto">
            <a:xfrm>
              <a:off x="2514600" y="3260725"/>
              <a:ext cx="457200" cy="228600"/>
            </a:xfrm>
            <a:prstGeom prst="rect">
              <a:avLst/>
            </a:prstGeom>
            <a:noFill/>
            <a:ln w="12700">
              <a:noFill/>
              <a:miter lim="800000"/>
              <a:headEnd type="none" w="sm" len="sm"/>
              <a:tailEnd type="none" w="sm" len="sm"/>
            </a:ln>
          </p:spPr>
          <p:txBody>
            <a:bodyPr>
              <a:spAutoFit/>
            </a:bodyPr>
            <a:lstStyle/>
            <a:p>
              <a:pPr>
                <a:spcBef>
                  <a:spcPct val="50000"/>
                </a:spcBef>
              </a:pPr>
              <a:r>
                <a:rPr lang="en-US" sz="900" u="none" dirty="0">
                  <a:solidFill>
                    <a:schemeClr val="bg1"/>
                  </a:solidFill>
                </a:rPr>
                <a:t>UT</a:t>
              </a:r>
            </a:p>
          </p:txBody>
        </p:sp>
        <p:sp>
          <p:nvSpPr>
            <p:cNvPr id="49283" name="Text Box 134"/>
            <p:cNvSpPr txBox="1">
              <a:spLocks noChangeArrowheads="1"/>
            </p:cNvSpPr>
            <p:nvPr/>
          </p:nvSpPr>
          <p:spPr bwMode="auto">
            <a:xfrm>
              <a:off x="2286000" y="2346325"/>
              <a:ext cx="457200" cy="228600"/>
            </a:xfrm>
            <a:prstGeom prst="rect">
              <a:avLst/>
            </a:prstGeom>
            <a:noFill/>
            <a:ln w="12700">
              <a:noFill/>
              <a:miter lim="800000"/>
              <a:headEnd type="none" w="sm" len="sm"/>
              <a:tailEnd type="none" w="sm" len="sm"/>
            </a:ln>
          </p:spPr>
          <p:txBody>
            <a:bodyPr>
              <a:spAutoFit/>
            </a:bodyPr>
            <a:lstStyle/>
            <a:p>
              <a:pPr>
                <a:spcBef>
                  <a:spcPct val="50000"/>
                </a:spcBef>
              </a:pPr>
              <a:r>
                <a:rPr lang="en-US" sz="900" u="none">
                  <a:solidFill>
                    <a:schemeClr val="bg1"/>
                  </a:solidFill>
                </a:rPr>
                <a:t>ID</a:t>
              </a:r>
            </a:p>
          </p:txBody>
        </p:sp>
        <p:sp>
          <p:nvSpPr>
            <p:cNvPr id="49284" name="Text Box 135"/>
            <p:cNvSpPr txBox="1">
              <a:spLocks noChangeArrowheads="1"/>
            </p:cNvSpPr>
            <p:nvPr/>
          </p:nvSpPr>
          <p:spPr bwMode="auto">
            <a:xfrm>
              <a:off x="1905000" y="3032125"/>
              <a:ext cx="457200" cy="228600"/>
            </a:xfrm>
            <a:prstGeom prst="rect">
              <a:avLst/>
            </a:prstGeom>
            <a:noFill/>
            <a:ln w="12700">
              <a:noFill/>
              <a:miter lim="800000"/>
              <a:headEnd type="none" w="sm" len="sm"/>
              <a:tailEnd type="none" w="sm" len="sm"/>
            </a:ln>
          </p:spPr>
          <p:txBody>
            <a:bodyPr>
              <a:spAutoFit/>
            </a:bodyPr>
            <a:lstStyle/>
            <a:p>
              <a:pPr>
                <a:spcBef>
                  <a:spcPct val="50000"/>
                </a:spcBef>
              </a:pPr>
              <a:r>
                <a:rPr lang="en-US" sz="900" u="none" dirty="0">
                  <a:solidFill>
                    <a:schemeClr val="bg1"/>
                  </a:solidFill>
                </a:rPr>
                <a:t>NV</a:t>
              </a:r>
            </a:p>
          </p:txBody>
        </p:sp>
        <p:sp>
          <p:nvSpPr>
            <p:cNvPr id="49285" name="Text Box 136"/>
            <p:cNvSpPr txBox="1">
              <a:spLocks noChangeArrowheads="1"/>
            </p:cNvSpPr>
            <p:nvPr/>
          </p:nvSpPr>
          <p:spPr bwMode="auto">
            <a:xfrm>
              <a:off x="1447800" y="2117725"/>
              <a:ext cx="457200" cy="228600"/>
            </a:xfrm>
            <a:prstGeom prst="rect">
              <a:avLst/>
            </a:prstGeom>
            <a:noFill/>
            <a:ln w="12700">
              <a:noFill/>
              <a:miter lim="800000"/>
              <a:headEnd type="none" w="sm" len="sm"/>
              <a:tailEnd type="none" w="sm" len="sm"/>
            </a:ln>
          </p:spPr>
          <p:txBody>
            <a:bodyPr>
              <a:spAutoFit/>
            </a:bodyPr>
            <a:lstStyle/>
            <a:p>
              <a:pPr>
                <a:spcBef>
                  <a:spcPct val="50000"/>
                </a:spcBef>
              </a:pPr>
              <a:r>
                <a:rPr lang="en-US" sz="900" u="none" dirty="0">
                  <a:solidFill>
                    <a:schemeClr val="bg1"/>
                  </a:solidFill>
                </a:rPr>
                <a:t>OR</a:t>
              </a:r>
            </a:p>
          </p:txBody>
        </p:sp>
        <p:sp>
          <p:nvSpPr>
            <p:cNvPr id="49286" name="Text Box 137"/>
            <p:cNvSpPr txBox="1">
              <a:spLocks noChangeArrowheads="1"/>
            </p:cNvSpPr>
            <p:nvPr/>
          </p:nvSpPr>
          <p:spPr bwMode="auto">
            <a:xfrm>
              <a:off x="1828800" y="1660525"/>
              <a:ext cx="457200" cy="228600"/>
            </a:xfrm>
            <a:prstGeom prst="rect">
              <a:avLst/>
            </a:prstGeom>
            <a:noFill/>
            <a:ln w="12700">
              <a:noFill/>
              <a:miter lim="800000"/>
              <a:headEnd type="none" w="sm" len="sm"/>
              <a:tailEnd type="none" w="sm" len="sm"/>
            </a:ln>
          </p:spPr>
          <p:txBody>
            <a:bodyPr>
              <a:spAutoFit/>
            </a:bodyPr>
            <a:lstStyle/>
            <a:p>
              <a:pPr>
                <a:spcBef>
                  <a:spcPct val="50000"/>
                </a:spcBef>
              </a:pPr>
              <a:r>
                <a:rPr lang="en-US" sz="900" u="none" dirty="0">
                  <a:solidFill>
                    <a:schemeClr val="bg1"/>
                  </a:solidFill>
                </a:rPr>
                <a:t>WA</a:t>
              </a:r>
            </a:p>
          </p:txBody>
        </p:sp>
        <p:sp>
          <p:nvSpPr>
            <p:cNvPr id="49287" name="Freeform 138">
              <a:hlinkClick r:id="rId7"/>
            </p:cNvPr>
            <p:cNvSpPr>
              <a:spLocks/>
            </p:cNvSpPr>
            <p:nvPr/>
          </p:nvSpPr>
          <p:spPr bwMode="auto">
            <a:xfrm>
              <a:off x="152400" y="1965325"/>
              <a:ext cx="914400" cy="838200"/>
            </a:xfrm>
            <a:custGeom>
              <a:avLst/>
              <a:gdLst>
                <a:gd name="T0" fmla="*/ 2147483647 w 1056"/>
                <a:gd name="T1" fmla="*/ 2147483647 h 1032"/>
                <a:gd name="T2" fmla="*/ 2147483647 w 1056"/>
                <a:gd name="T3" fmla="*/ 0 h 1032"/>
                <a:gd name="T4" fmla="*/ 2147483647 w 1056"/>
                <a:gd name="T5" fmla="*/ 2147483647 h 1032"/>
                <a:gd name="T6" fmla="*/ 2147483647 w 1056"/>
                <a:gd name="T7" fmla="*/ 2147483647 h 1032"/>
                <a:gd name="T8" fmla="*/ 2147483647 w 1056"/>
                <a:gd name="T9" fmla="*/ 2147483647 h 1032"/>
                <a:gd name="T10" fmla="*/ 2147483647 w 1056"/>
                <a:gd name="T11" fmla="*/ 2147483647 h 1032"/>
                <a:gd name="T12" fmla="*/ 2147483647 w 1056"/>
                <a:gd name="T13" fmla="*/ 2147483647 h 1032"/>
                <a:gd name="T14" fmla="*/ 2147483647 w 1056"/>
                <a:gd name="T15" fmla="*/ 2147483647 h 1032"/>
                <a:gd name="T16" fmla="*/ 2147483647 w 1056"/>
                <a:gd name="T17" fmla="*/ 2147483647 h 1032"/>
                <a:gd name="T18" fmla="*/ 2147483647 w 1056"/>
                <a:gd name="T19" fmla="*/ 2147483647 h 1032"/>
                <a:gd name="T20" fmla="*/ 2147483647 w 1056"/>
                <a:gd name="T21" fmla="*/ 2147483647 h 1032"/>
                <a:gd name="T22" fmla="*/ 2147483647 w 1056"/>
                <a:gd name="T23" fmla="*/ 2147483647 h 1032"/>
                <a:gd name="T24" fmla="*/ 2147483647 w 1056"/>
                <a:gd name="T25" fmla="*/ 2147483647 h 1032"/>
                <a:gd name="T26" fmla="*/ 2147483647 w 1056"/>
                <a:gd name="T27" fmla="*/ 2147483647 h 1032"/>
                <a:gd name="T28" fmla="*/ 2147483647 w 1056"/>
                <a:gd name="T29" fmla="*/ 2147483647 h 1032"/>
                <a:gd name="T30" fmla="*/ 2147483647 w 1056"/>
                <a:gd name="T31" fmla="*/ 2147483647 h 1032"/>
                <a:gd name="T32" fmla="*/ 2147483647 w 1056"/>
                <a:gd name="T33" fmla="*/ 2147483647 h 1032"/>
                <a:gd name="T34" fmla="*/ 2147483647 w 1056"/>
                <a:gd name="T35" fmla="*/ 2147483647 h 1032"/>
                <a:gd name="T36" fmla="*/ 2147483647 w 1056"/>
                <a:gd name="T37" fmla="*/ 2147483647 h 1032"/>
                <a:gd name="T38" fmla="*/ 2147483647 w 1056"/>
                <a:gd name="T39" fmla="*/ 2147483647 h 1032"/>
                <a:gd name="T40" fmla="*/ 2147483647 w 1056"/>
                <a:gd name="T41" fmla="*/ 2147483647 h 1032"/>
                <a:gd name="T42" fmla="*/ 2147483647 w 1056"/>
                <a:gd name="T43" fmla="*/ 2147483647 h 1032"/>
                <a:gd name="T44" fmla="*/ 0 w 1056"/>
                <a:gd name="T45" fmla="*/ 2147483647 h 1032"/>
                <a:gd name="T46" fmla="*/ 2147483647 w 1056"/>
                <a:gd name="T47" fmla="*/ 2147483647 h 1032"/>
                <a:gd name="T48" fmla="*/ 2147483647 w 1056"/>
                <a:gd name="T49" fmla="*/ 2147483647 h 1032"/>
                <a:gd name="T50" fmla="*/ 2147483647 w 1056"/>
                <a:gd name="T51" fmla="*/ 2147483647 h 1032"/>
                <a:gd name="T52" fmla="*/ 2147483647 w 1056"/>
                <a:gd name="T53" fmla="*/ 2147483647 h 1032"/>
                <a:gd name="T54" fmla="*/ 2147483647 w 1056"/>
                <a:gd name="T55" fmla="*/ 2147483647 h 1032"/>
                <a:gd name="T56" fmla="*/ 2147483647 w 1056"/>
                <a:gd name="T57" fmla="*/ 2147483647 h 1032"/>
                <a:gd name="T58" fmla="*/ 2147483647 w 1056"/>
                <a:gd name="T59" fmla="*/ 2147483647 h 1032"/>
                <a:gd name="T60" fmla="*/ 2147483647 w 1056"/>
                <a:gd name="T61" fmla="*/ 2147483647 h 1032"/>
                <a:gd name="T62" fmla="*/ 2147483647 w 1056"/>
                <a:gd name="T63" fmla="*/ 2147483647 h 1032"/>
                <a:gd name="T64" fmla="*/ 2147483647 w 1056"/>
                <a:gd name="T65" fmla="*/ 2147483647 h 1032"/>
                <a:gd name="T66" fmla="*/ 2147483647 w 1056"/>
                <a:gd name="T67" fmla="*/ 2147483647 h 1032"/>
                <a:gd name="T68" fmla="*/ 2147483647 w 1056"/>
                <a:gd name="T69" fmla="*/ 2147483647 h 1032"/>
                <a:gd name="T70" fmla="*/ 2147483647 w 1056"/>
                <a:gd name="T71" fmla="*/ 2147483647 h 1032"/>
                <a:gd name="T72" fmla="*/ 2147483647 w 1056"/>
                <a:gd name="T73" fmla="*/ 2147483647 h 1032"/>
                <a:gd name="T74" fmla="*/ 2147483647 w 1056"/>
                <a:gd name="T75" fmla="*/ 2147483647 h 1032"/>
                <a:gd name="T76" fmla="*/ 2147483647 w 1056"/>
                <a:gd name="T77" fmla="*/ 2147483647 h 1032"/>
                <a:gd name="T78" fmla="*/ 2147483647 w 1056"/>
                <a:gd name="T79" fmla="*/ 2147483647 h 1032"/>
                <a:gd name="T80" fmla="*/ 2147483647 w 1056"/>
                <a:gd name="T81" fmla="*/ 2147483647 h 1032"/>
                <a:gd name="T82" fmla="*/ 2147483647 w 1056"/>
                <a:gd name="T83" fmla="*/ 2147483647 h 1032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1056"/>
                <a:gd name="T127" fmla="*/ 0 h 1032"/>
                <a:gd name="T128" fmla="*/ 1056 w 1056"/>
                <a:gd name="T129" fmla="*/ 1032 h 1032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1056" h="1032">
                  <a:moveTo>
                    <a:pt x="168" y="152"/>
                  </a:moveTo>
                  <a:lnTo>
                    <a:pt x="384" y="0"/>
                  </a:lnTo>
                  <a:lnTo>
                    <a:pt x="488" y="24"/>
                  </a:lnTo>
                  <a:lnTo>
                    <a:pt x="536" y="72"/>
                  </a:lnTo>
                  <a:lnTo>
                    <a:pt x="736" y="96"/>
                  </a:lnTo>
                  <a:lnTo>
                    <a:pt x="736" y="600"/>
                  </a:lnTo>
                  <a:lnTo>
                    <a:pt x="800" y="616"/>
                  </a:lnTo>
                  <a:lnTo>
                    <a:pt x="832" y="680"/>
                  </a:lnTo>
                  <a:lnTo>
                    <a:pt x="880" y="656"/>
                  </a:lnTo>
                  <a:lnTo>
                    <a:pt x="976" y="800"/>
                  </a:lnTo>
                  <a:lnTo>
                    <a:pt x="1056" y="864"/>
                  </a:lnTo>
                  <a:lnTo>
                    <a:pt x="1056" y="912"/>
                  </a:lnTo>
                  <a:lnTo>
                    <a:pt x="952" y="920"/>
                  </a:lnTo>
                  <a:lnTo>
                    <a:pt x="904" y="752"/>
                  </a:lnTo>
                  <a:lnTo>
                    <a:pt x="576" y="584"/>
                  </a:lnTo>
                  <a:lnTo>
                    <a:pt x="584" y="640"/>
                  </a:lnTo>
                  <a:lnTo>
                    <a:pt x="512" y="704"/>
                  </a:lnTo>
                  <a:lnTo>
                    <a:pt x="496" y="680"/>
                  </a:lnTo>
                  <a:lnTo>
                    <a:pt x="480" y="680"/>
                  </a:lnTo>
                  <a:lnTo>
                    <a:pt x="416" y="824"/>
                  </a:lnTo>
                  <a:lnTo>
                    <a:pt x="240" y="960"/>
                  </a:lnTo>
                  <a:lnTo>
                    <a:pt x="56" y="1032"/>
                  </a:lnTo>
                  <a:lnTo>
                    <a:pt x="0" y="1016"/>
                  </a:lnTo>
                  <a:lnTo>
                    <a:pt x="208" y="904"/>
                  </a:lnTo>
                  <a:lnTo>
                    <a:pt x="240" y="904"/>
                  </a:lnTo>
                  <a:lnTo>
                    <a:pt x="312" y="808"/>
                  </a:lnTo>
                  <a:lnTo>
                    <a:pt x="344" y="808"/>
                  </a:lnTo>
                  <a:lnTo>
                    <a:pt x="400" y="736"/>
                  </a:lnTo>
                  <a:lnTo>
                    <a:pt x="384" y="704"/>
                  </a:lnTo>
                  <a:lnTo>
                    <a:pt x="272" y="720"/>
                  </a:lnTo>
                  <a:lnTo>
                    <a:pt x="192" y="544"/>
                  </a:lnTo>
                  <a:lnTo>
                    <a:pt x="240" y="464"/>
                  </a:lnTo>
                  <a:lnTo>
                    <a:pt x="304" y="440"/>
                  </a:lnTo>
                  <a:lnTo>
                    <a:pt x="280" y="368"/>
                  </a:lnTo>
                  <a:lnTo>
                    <a:pt x="208" y="400"/>
                  </a:lnTo>
                  <a:lnTo>
                    <a:pt x="152" y="296"/>
                  </a:lnTo>
                  <a:lnTo>
                    <a:pt x="216" y="272"/>
                  </a:lnTo>
                  <a:lnTo>
                    <a:pt x="272" y="304"/>
                  </a:lnTo>
                  <a:lnTo>
                    <a:pt x="296" y="288"/>
                  </a:lnTo>
                  <a:lnTo>
                    <a:pt x="248" y="200"/>
                  </a:lnTo>
                  <a:lnTo>
                    <a:pt x="168" y="192"/>
                  </a:lnTo>
                  <a:lnTo>
                    <a:pt x="168" y="152"/>
                  </a:lnTo>
                  <a:close/>
                </a:path>
              </a:pathLst>
            </a:custGeom>
            <a:solidFill>
              <a:srgbClr val="006600"/>
            </a:solidFill>
            <a:ln w="6350" cmpd="sng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9289" name="Line 140"/>
            <p:cNvSpPr>
              <a:spLocks noChangeShapeType="1"/>
            </p:cNvSpPr>
            <p:nvPr/>
          </p:nvSpPr>
          <p:spPr bwMode="auto">
            <a:xfrm>
              <a:off x="7620000" y="2651125"/>
              <a:ext cx="533400" cy="228600"/>
            </a:xfrm>
            <a:prstGeom prst="line">
              <a:avLst/>
            </a:prstGeom>
            <a:noFill/>
            <a:ln w="12700">
              <a:solidFill>
                <a:schemeClr val="tx1"/>
              </a:solidFill>
              <a:round/>
              <a:headEnd type="none" w="sm" len="sm"/>
              <a:tailEnd type="triangle" w="sm" len="sm"/>
            </a:ln>
          </p:spPr>
          <p:txBody>
            <a:bodyPr/>
            <a:lstStyle/>
            <a:p>
              <a:endParaRPr lang="en-US"/>
            </a:p>
          </p:txBody>
        </p:sp>
        <p:grpSp>
          <p:nvGrpSpPr>
            <p:cNvPr id="49290" name="Group 141"/>
            <p:cNvGrpSpPr>
              <a:grpSpLocks/>
            </p:cNvGrpSpPr>
            <p:nvPr/>
          </p:nvGrpSpPr>
          <p:grpSpPr bwMode="auto">
            <a:xfrm>
              <a:off x="381000" y="2041525"/>
              <a:ext cx="457200" cy="381000"/>
              <a:chOff x="240" y="1104"/>
              <a:chExt cx="288" cy="240"/>
            </a:xfrm>
          </p:grpSpPr>
          <p:sp>
            <p:nvSpPr>
              <p:cNvPr id="49367" name="Text Box 142"/>
              <p:cNvSpPr txBox="1">
                <a:spLocks noChangeArrowheads="1"/>
              </p:cNvSpPr>
              <p:nvPr/>
            </p:nvSpPr>
            <p:spPr bwMode="auto">
              <a:xfrm>
                <a:off x="240" y="1200"/>
                <a:ext cx="288" cy="144"/>
              </a:xfrm>
              <a:prstGeom prst="rect">
                <a:avLst/>
              </a:prstGeom>
              <a:noFill/>
              <a:ln w="12700">
                <a:noFill/>
                <a:miter lim="800000"/>
                <a:headEnd type="none" w="sm" len="sm"/>
                <a:tailEnd type="none" w="sm" len="sm"/>
              </a:ln>
            </p:spPr>
            <p:txBody>
              <a:bodyPr>
                <a:spAutoFit/>
              </a:bodyPr>
              <a:lstStyle/>
              <a:p>
                <a:pPr>
                  <a:spcBef>
                    <a:spcPct val="50000"/>
                  </a:spcBef>
                </a:pPr>
                <a:r>
                  <a:rPr lang="en-US" sz="900" b="0" u="none" dirty="0">
                    <a:solidFill>
                      <a:schemeClr val="bg1"/>
                    </a:solidFill>
                  </a:rPr>
                  <a:t>AK</a:t>
                </a:r>
              </a:p>
            </p:txBody>
          </p:sp>
          <p:sp>
            <p:nvSpPr>
              <p:cNvPr id="49368" name="Text Box 143"/>
              <p:cNvSpPr txBox="1">
                <a:spLocks noChangeArrowheads="1"/>
              </p:cNvSpPr>
              <p:nvPr/>
            </p:nvSpPr>
            <p:spPr bwMode="auto">
              <a:xfrm>
                <a:off x="278" y="1104"/>
                <a:ext cx="116" cy="135"/>
              </a:xfrm>
              <a:prstGeom prst="rect">
                <a:avLst/>
              </a:prstGeom>
              <a:noFill/>
              <a:ln w="12700">
                <a:noFill/>
                <a:miter lim="800000"/>
                <a:headEnd type="none" w="sm" len="sm"/>
                <a:tailEnd type="none" w="sm" len="sm"/>
              </a:ln>
            </p:spPr>
            <p:txBody>
              <a:bodyPr>
                <a:spAutoFit/>
              </a:bodyPr>
              <a:lstStyle/>
              <a:p>
                <a:pPr>
                  <a:spcBef>
                    <a:spcPct val="50000"/>
                  </a:spcBef>
                </a:pPr>
                <a:endParaRPr lang="en-US" sz="800" u="none" dirty="0">
                  <a:solidFill>
                    <a:schemeClr val="bg1"/>
                  </a:solidFill>
                </a:endParaRPr>
              </a:p>
            </p:txBody>
          </p:sp>
        </p:grpSp>
        <p:sp>
          <p:nvSpPr>
            <p:cNvPr id="49291" name="Text Box 144"/>
            <p:cNvSpPr txBox="1">
              <a:spLocks noChangeArrowheads="1"/>
            </p:cNvSpPr>
            <p:nvPr/>
          </p:nvSpPr>
          <p:spPr bwMode="auto">
            <a:xfrm>
              <a:off x="1828800" y="1431925"/>
              <a:ext cx="381000" cy="228600"/>
            </a:xfrm>
            <a:prstGeom prst="rect">
              <a:avLst/>
            </a:prstGeom>
            <a:noFill/>
            <a:ln w="12700">
              <a:noFill/>
              <a:miter lim="800000"/>
              <a:headEnd type="none" w="sm" len="sm"/>
              <a:tailEnd type="none" w="sm" len="sm"/>
            </a:ln>
          </p:spPr>
          <p:txBody>
            <a:bodyPr>
              <a:spAutoFit/>
            </a:bodyPr>
            <a:lstStyle/>
            <a:p>
              <a:pPr>
                <a:spcBef>
                  <a:spcPct val="50000"/>
                </a:spcBef>
              </a:pPr>
              <a:endParaRPr lang="en-US" sz="900" u="none" dirty="0">
                <a:solidFill>
                  <a:schemeClr val="bg1"/>
                </a:solidFill>
              </a:endParaRPr>
            </a:p>
          </p:txBody>
        </p:sp>
        <p:sp>
          <p:nvSpPr>
            <p:cNvPr id="49293" name="Text Box 146"/>
            <p:cNvSpPr txBox="1">
              <a:spLocks noChangeArrowheads="1"/>
            </p:cNvSpPr>
            <p:nvPr/>
          </p:nvSpPr>
          <p:spPr bwMode="auto">
            <a:xfrm>
              <a:off x="1371600" y="3276600"/>
              <a:ext cx="685800" cy="230832"/>
            </a:xfrm>
            <a:prstGeom prst="rect">
              <a:avLst/>
            </a:prstGeom>
            <a:noFill/>
            <a:ln w="12700">
              <a:noFill/>
              <a:miter lim="800000"/>
              <a:headEnd type="none" w="sm" len="sm"/>
              <a:tailEnd type="none" w="sm" len="sm"/>
            </a:ln>
          </p:spPr>
          <p:txBody>
            <a:bodyPr>
              <a:spAutoFit/>
            </a:bodyPr>
            <a:lstStyle/>
            <a:p>
              <a:pPr>
                <a:spcBef>
                  <a:spcPct val="50000"/>
                </a:spcBef>
              </a:pPr>
              <a:endParaRPr lang="en-US" sz="900" b="0" u="none" dirty="0"/>
            </a:p>
          </p:txBody>
        </p:sp>
        <p:sp>
          <p:nvSpPr>
            <p:cNvPr id="49294" name="Text Box 147"/>
            <p:cNvSpPr txBox="1">
              <a:spLocks noChangeArrowheads="1"/>
            </p:cNvSpPr>
            <p:nvPr/>
          </p:nvSpPr>
          <p:spPr bwMode="auto">
            <a:xfrm>
              <a:off x="1752600" y="2117725"/>
              <a:ext cx="381000" cy="228600"/>
            </a:xfrm>
            <a:prstGeom prst="rect">
              <a:avLst/>
            </a:prstGeom>
            <a:noFill/>
            <a:ln w="12700">
              <a:noFill/>
              <a:miter lim="800000"/>
              <a:headEnd type="none" w="sm" len="sm"/>
              <a:tailEnd type="none" w="sm" len="sm"/>
            </a:ln>
          </p:spPr>
          <p:txBody>
            <a:bodyPr>
              <a:spAutoFit/>
            </a:bodyPr>
            <a:lstStyle/>
            <a:p>
              <a:pPr>
                <a:spcBef>
                  <a:spcPct val="50000"/>
                </a:spcBef>
              </a:pPr>
              <a:endParaRPr lang="en-US" sz="900" u="none" dirty="0">
                <a:solidFill>
                  <a:schemeClr val="bg1"/>
                </a:solidFill>
              </a:endParaRPr>
            </a:p>
          </p:txBody>
        </p:sp>
        <p:sp>
          <p:nvSpPr>
            <p:cNvPr id="49295" name="Freeform 148">
              <a:hlinkClick r:id="rId7"/>
            </p:cNvPr>
            <p:cNvSpPr>
              <a:spLocks/>
            </p:cNvSpPr>
            <p:nvPr/>
          </p:nvSpPr>
          <p:spPr bwMode="auto">
            <a:xfrm>
              <a:off x="2473325" y="1550988"/>
              <a:ext cx="1333500" cy="874712"/>
            </a:xfrm>
            <a:custGeom>
              <a:avLst/>
              <a:gdLst>
                <a:gd name="T0" fmla="*/ 2147483647 w 874"/>
                <a:gd name="T1" fmla="*/ 2147483647 h 537"/>
                <a:gd name="T2" fmla="*/ 2147483647 w 874"/>
                <a:gd name="T3" fmla="*/ 2147483647 h 537"/>
                <a:gd name="T4" fmla="*/ 2147483647 w 874"/>
                <a:gd name="T5" fmla="*/ 2147483647 h 537"/>
                <a:gd name="T6" fmla="*/ 2147483647 w 874"/>
                <a:gd name="T7" fmla="*/ 2147483647 h 537"/>
                <a:gd name="T8" fmla="*/ 2147483647 w 874"/>
                <a:gd name="T9" fmla="*/ 2147483647 h 537"/>
                <a:gd name="T10" fmla="*/ 2147483647 w 874"/>
                <a:gd name="T11" fmla="*/ 2147483647 h 537"/>
                <a:gd name="T12" fmla="*/ 2147483647 w 874"/>
                <a:gd name="T13" fmla="*/ 2147483647 h 537"/>
                <a:gd name="T14" fmla="*/ 2147483647 w 874"/>
                <a:gd name="T15" fmla="*/ 2147483647 h 537"/>
                <a:gd name="T16" fmla="*/ 2147483647 w 874"/>
                <a:gd name="T17" fmla="*/ 2147483647 h 537"/>
                <a:gd name="T18" fmla="*/ 2147483647 w 874"/>
                <a:gd name="T19" fmla="*/ 2147483647 h 537"/>
                <a:gd name="T20" fmla="*/ 2147483647 w 874"/>
                <a:gd name="T21" fmla="*/ 2147483647 h 537"/>
                <a:gd name="T22" fmla="*/ 2147483647 w 874"/>
                <a:gd name="T23" fmla="*/ 2147483647 h 537"/>
                <a:gd name="T24" fmla="*/ 2147483647 w 874"/>
                <a:gd name="T25" fmla="*/ 2147483647 h 537"/>
                <a:gd name="T26" fmla="*/ 2147483647 w 874"/>
                <a:gd name="T27" fmla="*/ 2147483647 h 537"/>
                <a:gd name="T28" fmla="*/ 2147483647 w 874"/>
                <a:gd name="T29" fmla="*/ 2147483647 h 537"/>
                <a:gd name="T30" fmla="*/ 2147483647 w 874"/>
                <a:gd name="T31" fmla="*/ 2147483647 h 537"/>
                <a:gd name="T32" fmla="*/ 2147483647 w 874"/>
                <a:gd name="T33" fmla="*/ 2147483647 h 537"/>
                <a:gd name="T34" fmla="*/ 2147483647 w 874"/>
                <a:gd name="T35" fmla="*/ 2147483647 h 537"/>
                <a:gd name="T36" fmla="*/ 2147483647 w 874"/>
                <a:gd name="T37" fmla="*/ 2147483647 h 537"/>
                <a:gd name="T38" fmla="*/ 2147483647 w 874"/>
                <a:gd name="T39" fmla="*/ 2147483647 h 537"/>
                <a:gd name="T40" fmla="*/ 2147483647 w 874"/>
                <a:gd name="T41" fmla="*/ 2147483647 h 537"/>
                <a:gd name="T42" fmla="*/ 2147483647 w 874"/>
                <a:gd name="T43" fmla="*/ 2147483647 h 537"/>
                <a:gd name="T44" fmla="*/ 2147483647 w 874"/>
                <a:gd name="T45" fmla="*/ 2147483647 h 537"/>
                <a:gd name="T46" fmla="*/ 2147483647 w 874"/>
                <a:gd name="T47" fmla="*/ 2147483647 h 537"/>
                <a:gd name="T48" fmla="*/ 2147483647 w 874"/>
                <a:gd name="T49" fmla="*/ 0 h 537"/>
                <a:gd name="T50" fmla="*/ 0 w 874"/>
                <a:gd name="T51" fmla="*/ 2147483647 h 537"/>
                <a:gd name="T52" fmla="*/ 2147483647 w 874"/>
                <a:gd name="T53" fmla="*/ 2147483647 h 537"/>
                <a:gd name="T54" fmla="*/ 2147483647 w 874"/>
                <a:gd name="T55" fmla="*/ 2147483647 h 537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w 874"/>
                <a:gd name="T85" fmla="*/ 0 h 537"/>
                <a:gd name="T86" fmla="*/ 874 w 874"/>
                <a:gd name="T87" fmla="*/ 537 h 537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T84" t="T85" r="T86" b="T87"/>
              <a:pathLst>
                <a:path w="874" h="537">
                  <a:moveTo>
                    <a:pt x="15" y="136"/>
                  </a:moveTo>
                  <a:lnTo>
                    <a:pt x="16" y="158"/>
                  </a:lnTo>
                  <a:lnTo>
                    <a:pt x="9" y="162"/>
                  </a:lnTo>
                  <a:lnTo>
                    <a:pt x="34" y="186"/>
                  </a:lnTo>
                  <a:lnTo>
                    <a:pt x="61" y="251"/>
                  </a:lnTo>
                  <a:lnTo>
                    <a:pt x="70" y="308"/>
                  </a:lnTo>
                  <a:lnTo>
                    <a:pt x="74" y="339"/>
                  </a:lnTo>
                  <a:lnTo>
                    <a:pt x="55" y="369"/>
                  </a:lnTo>
                  <a:lnTo>
                    <a:pt x="68" y="382"/>
                  </a:lnTo>
                  <a:lnTo>
                    <a:pt x="104" y="363"/>
                  </a:lnTo>
                  <a:lnTo>
                    <a:pt x="128" y="464"/>
                  </a:lnTo>
                  <a:lnTo>
                    <a:pt x="144" y="470"/>
                  </a:lnTo>
                  <a:lnTo>
                    <a:pt x="147" y="500"/>
                  </a:lnTo>
                  <a:lnTo>
                    <a:pt x="160" y="513"/>
                  </a:lnTo>
                  <a:lnTo>
                    <a:pt x="193" y="512"/>
                  </a:lnTo>
                  <a:lnTo>
                    <a:pt x="266" y="512"/>
                  </a:lnTo>
                  <a:lnTo>
                    <a:pt x="296" y="525"/>
                  </a:lnTo>
                  <a:lnTo>
                    <a:pt x="305" y="472"/>
                  </a:lnTo>
                  <a:lnTo>
                    <a:pt x="542" y="507"/>
                  </a:lnTo>
                  <a:lnTo>
                    <a:pt x="835" y="537"/>
                  </a:lnTo>
                  <a:lnTo>
                    <a:pt x="844" y="439"/>
                  </a:lnTo>
                  <a:lnTo>
                    <a:pt x="874" y="125"/>
                  </a:lnTo>
                  <a:lnTo>
                    <a:pt x="486" y="81"/>
                  </a:lnTo>
                  <a:lnTo>
                    <a:pt x="294" y="52"/>
                  </a:lnTo>
                  <a:lnTo>
                    <a:pt x="22" y="0"/>
                  </a:lnTo>
                  <a:lnTo>
                    <a:pt x="0" y="100"/>
                  </a:lnTo>
                  <a:lnTo>
                    <a:pt x="15" y="136"/>
                  </a:lnTo>
                  <a:close/>
                </a:path>
              </a:pathLst>
            </a:custGeom>
            <a:solidFill>
              <a:srgbClr val="006600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9296" name="Text Box 149"/>
            <p:cNvSpPr txBox="1">
              <a:spLocks noChangeArrowheads="1"/>
            </p:cNvSpPr>
            <p:nvPr/>
          </p:nvSpPr>
          <p:spPr bwMode="auto">
            <a:xfrm>
              <a:off x="3048000" y="1889125"/>
              <a:ext cx="457200" cy="228600"/>
            </a:xfrm>
            <a:prstGeom prst="rect">
              <a:avLst/>
            </a:prstGeom>
            <a:noFill/>
            <a:ln w="12700">
              <a:noFill/>
              <a:miter lim="800000"/>
              <a:headEnd type="none" w="sm" len="sm"/>
              <a:tailEnd type="none" w="sm" len="sm"/>
            </a:ln>
          </p:spPr>
          <p:txBody>
            <a:bodyPr>
              <a:spAutoFit/>
            </a:bodyPr>
            <a:lstStyle/>
            <a:p>
              <a:pPr>
                <a:spcBef>
                  <a:spcPct val="50000"/>
                </a:spcBef>
              </a:pPr>
              <a:r>
                <a:rPr lang="en-US" sz="900" u="none" dirty="0">
                  <a:solidFill>
                    <a:schemeClr val="bg1"/>
                  </a:solidFill>
                </a:rPr>
                <a:t>MT</a:t>
              </a:r>
            </a:p>
          </p:txBody>
        </p:sp>
        <p:sp>
          <p:nvSpPr>
            <p:cNvPr id="49297" name="Text Box 150"/>
            <p:cNvSpPr txBox="1">
              <a:spLocks noChangeArrowheads="1"/>
            </p:cNvSpPr>
            <p:nvPr/>
          </p:nvSpPr>
          <p:spPr bwMode="auto">
            <a:xfrm>
              <a:off x="3276600" y="2041525"/>
              <a:ext cx="304800" cy="228600"/>
            </a:xfrm>
            <a:prstGeom prst="rect">
              <a:avLst/>
            </a:prstGeom>
            <a:noFill/>
            <a:ln w="12700">
              <a:noFill/>
              <a:miter lim="800000"/>
              <a:headEnd type="none" w="sm" len="sm"/>
              <a:tailEnd type="none" w="sm" len="sm"/>
            </a:ln>
          </p:spPr>
          <p:txBody>
            <a:bodyPr>
              <a:spAutoFit/>
            </a:bodyPr>
            <a:lstStyle/>
            <a:p>
              <a:pPr>
                <a:spcBef>
                  <a:spcPct val="50000"/>
                </a:spcBef>
              </a:pPr>
              <a:endParaRPr lang="en-US" sz="900" u="none" dirty="0">
                <a:solidFill>
                  <a:schemeClr val="bg1"/>
                </a:solidFill>
              </a:endParaRPr>
            </a:p>
          </p:txBody>
        </p:sp>
        <p:sp>
          <p:nvSpPr>
            <p:cNvPr id="49298" name="Text Box 151"/>
            <p:cNvSpPr txBox="1">
              <a:spLocks noChangeArrowheads="1"/>
            </p:cNvSpPr>
            <p:nvPr/>
          </p:nvSpPr>
          <p:spPr bwMode="auto">
            <a:xfrm>
              <a:off x="3352800" y="2727325"/>
              <a:ext cx="228600" cy="228600"/>
            </a:xfrm>
            <a:prstGeom prst="rect">
              <a:avLst/>
            </a:prstGeom>
            <a:noFill/>
            <a:ln w="12700">
              <a:noFill/>
              <a:miter lim="800000"/>
              <a:headEnd type="none" w="sm" len="sm"/>
              <a:tailEnd type="none" w="sm" len="sm"/>
            </a:ln>
          </p:spPr>
          <p:txBody>
            <a:bodyPr>
              <a:spAutoFit/>
            </a:bodyPr>
            <a:lstStyle/>
            <a:p>
              <a:pPr>
                <a:spcBef>
                  <a:spcPct val="50000"/>
                </a:spcBef>
              </a:pPr>
              <a:endParaRPr lang="en-US" sz="900" u="none" dirty="0">
                <a:solidFill>
                  <a:schemeClr val="bg1"/>
                </a:solidFill>
              </a:endParaRPr>
            </a:p>
          </p:txBody>
        </p:sp>
        <p:sp>
          <p:nvSpPr>
            <p:cNvPr id="49300" name="Text Box 153"/>
            <p:cNvSpPr txBox="1">
              <a:spLocks noChangeArrowheads="1"/>
            </p:cNvSpPr>
            <p:nvPr/>
          </p:nvSpPr>
          <p:spPr bwMode="auto">
            <a:xfrm>
              <a:off x="1981200" y="3260725"/>
              <a:ext cx="381000" cy="228600"/>
            </a:xfrm>
            <a:prstGeom prst="rect">
              <a:avLst/>
            </a:prstGeom>
            <a:noFill/>
            <a:ln w="12700">
              <a:noFill/>
              <a:miter lim="800000"/>
              <a:headEnd type="none" w="sm" len="sm"/>
              <a:tailEnd type="none" w="sm" len="sm"/>
            </a:ln>
          </p:spPr>
          <p:txBody>
            <a:bodyPr>
              <a:spAutoFit/>
            </a:bodyPr>
            <a:lstStyle/>
            <a:p>
              <a:pPr>
                <a:spcBef>
                  <a:spcPct val="50000"/>
                </a:spcBef>
              </a:pPr>
              <a:endParaRPr lang="en-US" sz="900" u="none" dirty="0">
                <a:solidFill>
                  <a:schemeClr val="bg1"/>
                </a:solidFill>
              </a:endParaRPr>
            </a:p>
          </p:txBody>
        </p:sp>
        <p:sp>
          <p:nvSpPr>
            <p:cNvPr id="49301" name="Text Box 154"/>
            <p:cNvSpPr txBox="1">
              <a:spLocks noChangeArrowheads="1"/>
            </p:cNvSpPr>
            <p:nvPr/>
          </p:nvSpPr>
          <p:spPr bwMode="auto">
            <a:xfrm>
              <a:off x="2514600" y="2955925"/>
              <a:ext cx="381000" cy="228600"/>
            </a:xfrm>
            <a:prstGeom prst="rect">
              <a:avLst/>
            </a:prstGeom>
            <a:noFill/>
            <a:ln w="12700">
              <a:noFill/>
              <a:miter lim="800000"/>
              <a:headEnd type="none" w="sm" len="sm"/>
              <a:tailEnd type="none" w="sm" len="sm"/>
            </a:ln>
          </p:spPr>
          <p:txBody>
            <a:bodyPr>
              <a:spAutoFit/>
            </a:bodyPr>
            <a:lstStyle/>
            <a:p>
              <a:pPr>
                <a:spcBef>
                  <a:spcPct val="50000"/>
                </a:spcBef>
              </a:pPr>
              <a:endParaRPr lang="en-US" sz="900" u="none" dirty="0">
                <a:solidFill>
                  <a:schemeClr val="bg1"/>
                </a:solidFill>
              </a:endParaRPr>
            </a:p>
          </p:txBody>
        </p:sp>
        <p:sp>
          <p:nvSpPr>
            <p:cNvPr id="49303" name="Text Box 156"/>
            <p:cNvSpPr txBox="1">
              <a:spLocks noChangeArrowheads="1"/>
            </p:cNvSpPr>
            <p:nvPr/>
          </p:nvSpPr>
          <p:spPr bwMode="auto">
            <a:xfrm>
              <a:off x="3483769" y="3375025"/>
              <a:ext cx="381000" cy="230832"/>
            </a:xfrm>
            <a:prstGeom prst="rect">
              <a:avLst/>
            </a:prstGeom>
            <a:noFill/>
            <a:ln w="12700">
              <a:noFill/>
              <a:miter lim="800000"/>
              <a:headEnd type="none" w="sm" len="sm"/>
              <a:tailEnd type="none" w="sm" len="sm"/>
            </a:ln>
          </p:spPr>
          <p:txBody>
            <a:bodyPr>
              <a:spAutoFit/>
            </a:bodyPr>
            <a:lstStyle/>
            <a:p>
              <a:pPr>
                <a:spcBef>
                  <a:spcPct val="50000"/>
                </a:spcBef>
              </a:pPr>
              <a:endParaRPr lang="en-US" sz="900" u="none" dirty="0">
                <a:solidFill>
                  <a:schemeClr val="bg1"/>
                </a:solidFill>
              </a:endParaRPr>
            </a:p>
          </p:txBody>
        </p:sp>
        <p:sp>
          <p:nvSpPr>
            <p:cNvPr id="49305" name="Text Box 158"/>
            <p:cNvSpPr txBox="1">
              <a:spLocks noChangeArrowheads="1"/>
            </p:cNvSpPr>
            <p:nvPr/>
          </p:nvSpPr>
          <p:spPr bwMode="auto">
            <a:xfrm>
              <a:off x="4191000" y="1965325"/>
              <a:ext cx="304800" cy="244475"/>
            </a:xfrm>
            <a:prstGeom prst="rect">
              <a:avLst/>
            </a:prstGeom>
            <a:noFill/>
            <a:ln w="12700">
              <a:noFill/>
              <a:miter lim="800000"/>
              <a:headEnd type="none" w="sm" len="sm"/>
              <a:tailEnd type="none" w="sm" len="sm"/>
            </a:ln>
          </p:spPr>
          <p:txBody>
            <a:bodyPr>
              <a:spAutoFit/>
            </a:bodyPr>
            <a:lstStyle/>
            <a:p>
              <a:pPr>
                <a:spcBef>
                  <a:spcPct val="50000"/>
                </a:spcBef>
              </a:pPr>
              <a:endParaRPr lang="en-US" sz="1000" u="none" dirty="0">
                <a:solidFill>
                  <a:schemeClr val="bg1"/>
                </a:solidFill>
              </a:endParaRPr>
            </a:p>
          </p:txBody>
        </p:sp>
        <p:sp>
          <p:nvSpPr>
            <p:cNvPr id="49307" name="Text Box 160"/>
            <p:cNvSpPr txBox="1">
              <a:spLocks noChangeArrowheads="1"/>
            </p:cNvSpPr>
            <p:nvPr/>
          </p:nvSpPr>
          <p:spPr bwMode="auto">
            <a:xfrm>
              <a:off x="4191000" y="3016250"/>
              <a:ext cx="381000" cy="228600"/>
            </a:xfrm>
            <a:prstGeom prst="rect">
              <a:avLst/>
            </a:prstGeom>
            <a:noFill/>
            <a:ln w="12700">
              <a:noFill/>
              <a:miter lim="800000"/>
              <a:headEnd type="none" w="sm" len="sm"/>
              <a:tailEnd type="none" w="sm" len="sm"/>
            </a:ln>
          </p:spPr>
          <p:txBody>
            <a:bodyPr>
              <a:spAutoFit/>
            </a:bodyPr>
            <a:lstStyle/>
            <a:p>
              <a:pPr>
                <a:spcBef>
                  <a:spcPct val="50000"/>
                </a:spcBef>
              </a:pPr>
              <a:endParaRPr lang="en-US" sz="900" u="none" dirty="0"/>
            </a:p>
          </p:txBody>
        </p:sp>
        <p:sp>
          <p:nvSpPr>
            <p:cNvPr id="49308" name="Text Box 161"/>
            <p:cNvSpPr txBox="1">
              <a:spLocks noChangeArrowheads="1"/>
            </p:cNvSpPr>
            <p:nvPr/>
          </p:nvSpPr>
          <p:spPr bwMode="auto">
            <a:xfrm>
              <a:off x="4419600" y="3473450"/>
              <a:ext cx="381000" cy="228600"/>
            </a:xfrm>
            <a:prstGeom prst="rect">
              <a:avLst/>
            </a:prstGeom>
            <a:noFill/>
            <a:ln w="12700">
              <a:noFill/>
              <a:miter lim="800000"/>
              <a:headEnd type="none" w="sm" len="sm"/>
              <a:tailEnd type="none" w="sm" len="sm"/>
            </a:ln>
          </p:spPr>
          <p:txBody>
            <a:bodyPr>
              <a:spAutoFit/>
            </a:bodyPr>
            <a:lstStyle/>
            <a:p>
              <a:pPr>
                <a:spcBef>
                  <a:spcPct val="50000"/>
                </a:spcBef>
              </a:pPr>
              <a:endParaRPr lang="en-US" sz="900" u="none" dirty="0"/>
            </a:p>
          </p:txBody>
        </p:sp>
        <p:sp>
          <p:nvSpPr>
            <p:cNvPr id="49365" name="Text Box 163"/>
            <p:cNvSpPr txBox="1">
              <a:spLocks noChangeArrowheads="1"/>
            </p:cNvSpPr>
            <p:nvPr/>
          </p:nvSpPr>
          <p:spPr bwMode="auto">
            <a:xfrm>
              <a:off x="4267200" y="3946525"/>
              <a:ext cx="457200" cy="228600"/>
            </a:xfrm>
            <a:prstGeom prst="rect">
              <a:avLst/>
            </a:prstGeom>
            <a:noFill/>
            <a:ln w="12700">
              <a:noFill/>
              <a:miter lim="800000"/>
              <a:headEnd type="none" w="sm" len="sm"/>
              <a:tailEnd type="none" w="sm" len="sm"/>
            </a:ln>
          </p:spPr>
          <p:txBody>
            <a:bodyPr>
              <a:spAutoFit/>
            </a:bodyPr>
            <a:lstStyle/>
            <a:p>
              <a:pPr>
                <a:spcBef>
                  <a:spcPct val="50000"/>
                </a:spcBef>
              </a:pPr>
              <a:r>
                <a:rPr lang="en-US" sz="900" u="none" dirty="0"/>
                <a:t>OK</a:t>
              </a:r>
            </a:p>
          </p:txBody>
        </p:sp>
        <p:grpSp>
          <p:nvGrpSpPr>
            <p:cNvPr id="49310" name="Group 165"/>
            <p:cNvGrpSpPr>
              <a:grpSpLocks/>
            </p:cNvGrpSpPr>
            <p:nvPr/>
          </p:nvGrpSpPr>
          <p:grpSpPr bwMode="auto">
            <a:xfrm>
              <a:off x="3862387" y="4489852"/>
              <a:ext cx="990600" cy="457200"/>
              <a:chOff x="2448" y="2640"/>
              <a:chExt cx="624" cy="288"/>
            </a:xfrm>
          </p:grpSpPr>
          <p:sp>
            <p:nvSpPr>
              <p:cNvPr id="49363" name="Text Box 166"/>
              <p:cNvSpPr txBox="1">
                <a:spLocks noChangeArrowheads="1"/>
              </p:cNvSpPr>
              <p:nvPr/>
            </p:nvSpPr>
            <p:spPr bwMode="auto">
              <a:xfrm>
                <a:off x="2448" y="2640"/>
                <a:ext cx="240" cy="144"/>
              </a:xfrm>
              <a:prstGeom prst="rect">
                <a:avLst/>
              </a:prstGeom>
              <a:noFill/>
              <a:ln w="12700">
                <a:noFill/>
                <a:miter lim="800000"/>
                <a:headEnd type="none" w="sm" len="sm"/>
                <a:tailEnd type="none" w="sm" len="sm"/>
              </a:ln>
            </p:spPr>
            <p:txBody>
              <a:bodyPr>
                <a:spAutoFit/>
              </a:bodyPr>
              <a:lstStyle/>
              <a:p>
                <a:pPr>
                  <a:spcBef>
                    <a:spcPct val="50000"/>
                  </a:spcBef>
                </a:pPr>
                <a:r>
                  <a:rPr lang="en-US" sz="900" u="none" dirty="0"/>
                  <a:t>TX</a:t>
                </a:r>
              </a:p>
            </p:txBody>
          </p:sp>
          <p:sp>
            <p:nvSpPr>
              <p:cNvPr id="49364" name="Text Box 167"/>
              <p:cNvSpPr txBox="1">
                <a:spLocks noChangeArrowheads="1"/>
              </p:cNvSpPr>
              <p:nvPr/>
            </p:nvSpPr>
            <p:spPr bwMode="auto">
              <a:xfrm>
                <a:off x="2640" y="2784"/>
                <a:ext cx="432" cy="144"/>
              </a:xfrm>
              <a:prstGeom prst="rect">
                <a:avLst/>
              </a:prstGeom>
              <a:noFill/>
              <a:ln w="12700">
                <a:noFill/>
                <a:miter lim="800000"/>
                <a:headEnd type="none" w="sm" len="sm"/>
                <a:tailEnd type="none" w="sm" len="sm"/>
              </a:ln>
            </p:spPr>
            <p:txBody>
              <a:bodyPr>
                <a:spAutoFit/>
              </a:bodyPr>
              <a:lstStyle/>
              <a:p>
                <a:pPr>
                  <a:spcBef>
                    <a:spcPct val="50000"/>
                  </a:spcBef>
                </a:pPr>
                <a:endParaRPr lang="en-US" sz="900" u="none" dirty="0"/>
              </a:p>
            </p:txBody>
          </p:sp>
        </p:grpSp>
        <p:sp>
          <p:nvSpPr>
            <p:cNvPr id="49311" name="Text Box 168"/>
            <p:cNvSpPr txBox="1">
              <a:spLocks noChangeArrowheads="1"/>
            </p:cNvSpPr>
            <p:nvPr/>
          </p:nvSpPr>
          <p:spPr bwMode="auto">
            <a:xfrm>
              <a:off x="4724400" y="2346325"/>
              <a:ext cx="381000" cy="228600"/>
            </a:xfrm>
            <a:prstGeom prst="rect">
              <a:avLst/>
            </a:prstGeom>
            <a:noFill/>
            <a:ln w="12700">
              <a:noFill/>
              <a:miter lim="800000"/>
              <a:headEnd type="none" w="sm" len="sm"/>
              <a:tailEnd type="none" w="sm" len="sm"/>
            </a:ln>
          </p:spPr>
          <p:txBody>
            <a:bodyPr>
              <a:spAutoFit/>
            </a:bodyPr>
            <a:lstStyle/>
            <a:p>
              <a:pPr>
                <a:spcBef>
                  <a:spcPct val="50000"/>
                </a:spcBef>
              </a:pPr>
              <a:endParaRPr lang="en-US" sz="900" b="0" u="none" dirty="0">
                <a:solidFill>
                  <a:schemeClr val="bg1"/>
                </a:solidFill>
              </a:endParaRPr>
            </a:p>
          </p:txBody>
        </p:sp>
        <p:sp>
          <p:nvSpPr>
            <p:cNvPr id="49312" name="Text Box 169"/>
            <p:cNvSpPr txBox="1">
              <a:spLocks noChangeArrowheads="1"/>
            </p:cNvSpPr>
            <p:nvPr/>
          </p:nvSpPr>
          <p:spPr bwMode="auto">
            <a:xfrm>
              <a:off x="4953000" y="2940050"/>
              <a:ext cx="381000" cy="228600"/>
            </a:xfrm>
            <a:prstGeom prst="rect">
              <a:avLst/>
            </a:prstGeom>
            <a:noFill/>
            <a:ln w="12700">
              <a:noFill/>
              <a:miter lim="800000"/>
              <a:headEnd type="none" w="sm" len="sm"/>
              <a:tailEnd type="none" w="sm" len="sm"/>
            </a:ln>
          </p:spPr>
          <p:txBody>
            <a:bodyPr>
              <a:spAutoFit/>
            </a:bodyPr>
            <a:lstStyle/>
            <a:p>
              <a:pPr>
                <a:spcBef>
                  <a:spcPct val="50000"/>
                </a:spcBef>
              </a:pPr>
              <a:endParaRPr lang="en-US" sz="900" b="0" u="none" dirty="0">
                <a:solidFill>
                  <a:schemeClr val="bg1"/>
                </a:solidFill>
              </a:endParaRPr>
            </a:p>
          </p:txBody>
        </p:sp>
        <p:sp>
          <p:nvSpPr>
            <p:cNvPr id="29866" name="Text Box 170"/>
            <p:cNvSpPr txBox="1">
              <a:spLocks noChangeArrowheads="1"/>
            </p:cNvSpPr>
            <p:nvPr/>
          </p:nvSpPr>
          <p:spPr bwMode="auto">
            <a:xfrm>
              <a:off x="5029200" y="3489325"/>
              <a:ext cx="184150" cy="366713"/>
            </a:xfrm>
            <a:prstGeom prst="rect">
              <a:avLst/>
            </a:prstGeom>
            <a:noFill/>
            <a:ln w="12700">
              <a:noFill/>
              <a:miter lim="800000"/>
              <a:headEnd type="none" w="sm" len="sm"/>
              <a:tailEnd type="none" w="sm" len="sm"/>
            </a:ln>
            <a:effectLst>
              <a:outerShdw dist="53882" dir="2700000" algn="ctr" rotWithShape="0">
                <a:schemeClr val="bg2"/>
              </a:outerShdw>
            </a:effectLst>
          </p:spPr>
          <p:txBody>
            <a:bodyPr wrap="none">
              <a:spAutoFit/>
            </a:bodyPr>
            <a:lstStyle/>
            <a:p>
              <a:pPr>
                <a:defRPr/>
              </a:pPr>
              <a:endParaRPr lang="en-US" b="0" u="none"/>
            </a:p>
          </p:txBody>
        </p:sp>
        <p:sp>
          <p:nvSpPr>
            <p:cNvPr id="49315" name="Text Box 172"/>
            <p:cNvSpPr txBox="1">
              <a:spLocks noChangeArrowheads="1"/>
            </p:cNvSpPr>
            <p:nvPr/>
          </p:nvSpPr>
          <p:spPr bwMode="auto">
            <a:xfrm>
              <a:off x="5029200" y="4159250"/>
              <a:ext cx="381000" cy="228600"/>
            </a:xfrm>
            <a:prstGeom prst="rect">
              <a:avLst/>
            </a:prstGeom>
            <a:noFill/>
            <a:ln w="12700">
              <a:noFill/>
              <a:miter lim="800000"/>
              <a:headEnd type="none" w="sm" len="sm"/>
              <a:tailEnd type="none" w="sm" len="sm"/>
            </a:ln>
          </p:spPr>
          <p:txBody>
            <a:bodyPr>
              <a:spAutoFit/>
            </a:bodyPr>
            <a:lstStyle/>
            <a:p>
              <a:pPr>
                <a:spcBef>
                  <a:spcPct val="50000"/>
                </a:spcBef>
              </a:pPr>
              <a:endParaRPr lang="en-US" sz="900" b="0" u="none" dirty="0"/>
            </a:p>
          </p:txBody>
        </p:sp>
        <p:sp>
          <p:nvSpPr>
            <p:cNvPr id="49316" name="Text Box 173"/>
            <p:cNvSpPr txBox="1">
              <a:spLocks noChangeArrowheads="1"/>
            </p:cNvSpPr>
            <p:nvPr/>
          </p:nvSpPr>
          <p:spPr bwMode="auto">
            <a:xfrm>
              <a:off x="4953000" y="4632325"/>
              <a:ext cx="381000" cy="228600"/>
            </a:xfrm>
            <a:prstGeom prst="rect">
              <a:avLst/>
            </a:prstGeom>
            <a:noFill/>
            <a:ln w="12700">
              <a:noFill/>
              <a:miter lim="800000"/>
              <a:headEnd type="none" w="sm" len="sm"/>
              <a:tailEnd type="none" w="sm" len="sm"/>
            </a:ln>
          </p:spPr>
          <p:txBody>
            <a:bodyPr>
              <a:spAutoFit/>
            </a:bodyPr>
            <a:lstStyle/>
            <a:p>
              <a:pPr>
                <a:spcBef>
                  <a:spcPct val="50000"/>
                </a:spcBef>
              </a:pPr>
              <a:r>
                <a:rPr lang="en-US" sz="900" b="0" u="none"/>
                <a:t>LA</a:t>
              </a:r>
            </a:p>
          </p:txBody>
        </p:sp>
        <p:sp>
          <p:nvSpPr>
            <p:cNvPr id="49317" name="Text Box 174"/>
            <p:cNvSpPr txBox="1">
              <a:spLocks noChangeArrowheads="1"/>
            </p:cNvSpPr>
            <p:nvPr/>
          </p:nvSpPr>
          <p:spPr bwMode="auto">
            <a:xfrm>
              <a:off x="5029200" y="4845050"/>
              <a:ext cx="381000" cy="438582"/>
            </a:xfrm>
            <a:prstGeom prst="rect">
              <a:avLst/>
            </a:prstGeom>
            <a:noFill/>
            <a:ln w="12700">
              <a:noFill/>
              <a:miter lim="800000"/>
              <a:headEnd type="none" w="sm" len="sm"/>
              <a:tailEnd type="none" w="sm" len="sm"/>
            </a:ln>
          </p:spPr>
          <p:txBody>
            <a:bodyPr>
              <a:spAutoFit/>
            </a:bodyPr>
            <a:lstStyle/>
            <a:p>
              <a:pPr>
                <a:spcBef>
                  <a:spcPct val="50000"/>
                </a:spcBef>
              </a:pPr>
              <a:endParaRPr lang="en-US" sz="900" b="0" u="none" dirty="0"/>
            </a:p>
            <a:p>
              <a:pPr>
                <a:spcBef>
                  <a:spcPct val="50000"/>
                </a:spcBef>
              </a:pPr>
              <a:endParaRPr lang="en-US" sz="900" b="0" u="none" dirty="0"/>
            </a:p>
          </p:txBody>
        </p:sp>
        <p:grpSp>
          <p:nvGrpSpPr>
            <p:cNvPr id="49318" name="Group 175"/>
            <p:cNvGrpSpPr>
              <a:grpSpLocks/>
            </p:cNvGrpSpPr>
            <p:nvPr/>
          </p:nvGrpSpPr>
          <p:grpSpPr bwMode="auto">
            <a:xfrm>
              <a:off x="5181600" y="2346325"/>
              <a:ext cx="457200" cy="381000"/>
              <a:chOff x="3264" y="1296"/>
              <a:chExt cx="288" cy="240"/>
            </a:xfrm>
          </p:grpSpPr>
          <p:sp>
            <p:nvSpPr>
              <p:cNvPr id="49361" name="Text Box 176"/>
              <p:cNvSpPr txBox="1">
                <a:spLocks noChangeArrowheads="1"/>
              </p:cNvSpPr>
              <p:nvPr/>
            </p:nvSpPr>
            <p:spPr bwMode="auto">
              <a:xfrm>
                <a:off x="3264" y="1296"/>
                <a:ext cx="288" cy="144"/>
              </a:xfrm>
              <a:prstGeom prst="rect">
                <a:avLst/>
              </a:prstGeom>
              <a:noFill/>
              <a:ln w="12700">
                <a:noFill/>
                <a:miter lim="800000"/>
                <a:headEnd type="none" w="sm" len="sm"/>
                <a:tailEnd type="none" w="sm" len="sm"/>
              </a:ln>
            </p:spPr>
            <p:txBody>
              <a:bodyPr>
                <a:spAutoFit/>
              </a:bodyPr>
              <a:lstStyle/>
              <a:p>
                <a:pPr>
                  <a:spcBef>
                    <a:spcPct val="50000"/>
                  </a:spcBef>
                </a:pPr>
                <a:r>
                  <a:rPr lang="en-US" sz="900" b="0" u="none"/>
                  <a:t>WI</a:t>
                </a:r>
              </a:p>
            </p:txBody>
          </p:sp>
          <p:sp>
            <p:nvSpPr>
              <p:cNvPr id="49362" name="Text Box 177"/>
              <p:cNvSpPr txBox="1">
                <a:spLocks noChangeArrowheads="1"/>
              </p:cNvSpPr>
              <p:nvPr/>
            </p:nvSpPr>
            <p:spPr bwMode="auto">
              <a:xfrm>
                <a:off x="3312" y="1392"/>
                <a:ext cx="240" cy="144"/>
              </a:xfrm>
              <a:prstGeom prst="rect">
                <a:avLst/>
              </a:prstGeom>
              <a:noFill/>
              <a:ln w="12700">
                <a:noFill/>
                <a:miter lim="800000"/>
                <a:headEnd type="none" w="sm" len="sm"/>
                <a:tailEnd type="none" w="sm" len="sm"/>
              </a:ln>
            </p:spPr>
            <p:txBody>
              <a:bodyPr>
                <a:spAutoFit/>
              </a:bodyPr>
              <a:lstStyle/>
              <a:p>
                <a:pPr>
                  <a:spcBef>
                    <a:spcPct val="50000"/>
                  </a:spcBef>
                </a:pPr>
                <a:endParaRPr lang="en-US" sz="900" b="0" u="none" dirty="0"/>
              </a:p>
            </p:txBody>
          </p:sp>
        </p:grpSp>
        <p:sp>
          <p:nvSpPr>
            <p:cNvPr id="49322" name="Text Box 181"/>
            <p:cNvSpPr txBox="1">
              <a:spLocks noChangeArrowheads="1"/>
            </p:cNvSpPr>
            <p:nvPr/>
          </p:nvSpPr>
          <p:spPr bwMode="auto">
            <a:xfrm>
              <a:off x="5715000" y="3260725"/>
              <a:ext cx="381000" cy="228600"/>
            </a:xfrm>
            <a:prstGeom prst="rect">
              <a:avLst/>
            </a:prstGeom>
            <a:noFill/>
            <a:ln w="12700">
              <a:noFill/>
              <a:miter lim="800000"/>
              <a:headEnd type="none" w="sm" len="sm"/>
              <a:tailEnd type="none" w="sm" len="sm"/>
            </a:ln>
          </p:spPr>
          <p:txBody>
            <a:bodyPr>
              <a:spAutoFit/>
            </a:bodyPr>
            <a:lstStyle/>
            <a:p>
              <a:pPr>
                <a:spcBef>
                  <a:spcPct val="50000"/>
                </a:spcBef>
              </a:pPr>
              <a:endParaRPr lang="en-US" sz="900" b="0" u="none" dirty="0"/>
            </a:p>
          </p:txBody>
        </p:sp>
        <p:sp>
          <p:nvSpPr>
            <p:cNvPr id="49323" name="Text Box 182"/>
            <p:cNvSpPr txBox="1">
              <a:spLocks noChangeArrowheads="1"/>
            </p:cNvSpPr>
            <p:nvPr/>
          </p:nvSpPr>
          <p:spPr bwMode="auto">
            <a:xfrm>
              <a:off x="5715000" y="3625850"/>
              <a:ext cx="381000" cy="438582"/>
            </a:xfrm>
            <a:prstGeom prst="rect">
              <a:avLst/>
            </a:prstGeom>
            <a:noFill/>
            <a:ln w="12700">
              <a:noFill/>
              <a:miter lim="800000"/>
              <a:headEnd type="none" w="sm" len="sm"/>
              <a:tailEnd type="none" w="sm" len="sm"/>
            </a:ln>
          </p:spPr>
          <p:txBody>
            <a:bodyPr>
              <a:spAutoFit/>
            </a:bodyPr>
            <a:lstStyle/>
            <a:p>
              <a:pPr>
                <a:spcBef>
                  <a:spcPct val="50000"/>
                </a:spcBef>
              </a:pPr>
              <a:endParaRPr lang="en-US" sz="900" b="0" u="none" dirty="0"/>
            </a:p>
            <a:p>
              <a:pPr>
                <a:spcBef>
                  <a:spcPct val="50000"/>
                </a:spcBef>
              </a:pPr>
              <a:endParaRPr lang="en-US" sz="900" b="0" u="none" dirty="0"/>
            </a:p>
          </p:txBody>
        </p:sp>
        <p:sp>
          <p:nvSpPr>
            <p:cNvPr id="49324" name="Text Box 183"/>
            <p:cNvSpPr txBox="1">
              <a:spLocks noChangeArrowheads="1"/>
            </p:cNvSpPr>
            <p:nvPr/>
          </p:nvSpPr>
          <p:spPr bwMode="auto">
            <a:xfrm>
              <a:off x="5867400" y="3854450"/>
              <a:ext cx="381000" cy="228600"/>
            </a:xfrm>
            <a:prstGeom prst="rect">
              <a:avLst/>
            </a:prstGeom>
            <a:noFill/>
            <a:ln w="12700">
              <a:noFill/>
              <a:miter lim="800000"/>
              <a:headEnd type="none" w="sm" len="sm"/>
              <a:tailEnd type="none" w="sm" len="sm"/>
            </a:ln>
          </p:spPr>
          <p:txBody>
            <a:bodyPr>
              <a:spAutoFit/>
            </a:bodyPr>
            <a:lstStyle/>
            <a:p>
              <a:pPr>
                <a:spcBef>
                  <a:spcPct val="50000"/>
                </a:spcBef>
              </a:pPr>
              <a:endParaRPr lang="en-US" sz="900" b="0" u="none" dirty="0"/>
            </a:p>
          </p:txBody>
        </p:sp>
        <p:sp>
          <p:nvSpPr>
            <p:cNvPr id="49359" name="Text Box 185"/>
            <p:cNvSpPr txBox="1">
              <a:spLocks noChangeArrowheads="1"/>
            </p:cNvSpPr>
            <p:nvPr/>
          </p:nvSpPr>
          <p:spPr bwMode="auto">
            <a:xfrm>
              <a:off x="5715000" y="4251325"/>
              <a:ext cx="457200" cy="228600"/>
            </a:xfrm>
            <a:prstGeom prst="rect">
              <a:avLst/>
            </a:prstGeom>
            <a:noFill/>
            <a:ln w="12700">
              <a:noFill/>
              <a:miter lim="800000"/>
              <a:headEnd type="none" w="sm" len="sm"/>
              <a:tailEnd type="none" w="sm" len="sm"/>
            </a:ln>
          </p:spPr>
          <p:txBody>
            <a:bodyPr>
              <a:spAutoFit/>
            </a:bodyPr>
            <a:lstStyle/>
            <a:p>
              <a:pPr>
                <a:spcBef>
                  <a:spcPct val="50000"/>
                </a:spcBef>
              </a:pPr>
              <a:r>
                <a:rPr lang="en-US" sz="900" b="0" u="none"/>
                <a:t>AL</a:t>
              </a:r>
            </a:p>
          </p:txBody>
        </p:sp>
        <p:grpSp>
          <p:nvGrpSpPr>
            <p:cNvPr id="49327" name="Group 188"/>
            <p:cNvGrpSpPr>
              <a:grpSpLocks/>
            </p:cNvGrpSpPr>
            <p:nvPr/>
          </p:nvGrpSpPr>
          <p:grpSpPr bwMode="auto">
            <a:xfrm>
              <a:off x="6477000" y="4937128"/>
              <a:ext cx="685800" cy="742951"/>
              <a:chOff x="4080" y="2928"/>
              <a:chExt cx="432" cy="468"/>
            </a:xfrm>
          </p:grpSpPr>
          <p:sp>
            <p:nvSpPr>
              <p:cNvPr id="49357" name="Text Box 189"/>
              <p:cNvSpPr txBox="1">
                <a:spLocks noChangeArrowheads="1"/>
              </p:cNvSpPr>
              <p:nvPr/>
            </p:nvSpPr>
            <p:spPr bwMode="auto">
              <a:xfrm>
                <a:off x="4080" y="2928"/>
                <a:ext cx="288" cy="144"/>
              </a:xfrm>
              <a:prstGeom prst="rect">
                <a:avLst/>
              </a:prstGeom>
              <a:noFill/>
              <a:ln w="12700">
                <a:noFill/>
                <a:miter lim="800000"/>
                <a:headEnd type="none" w="sm" len="sm"/>
                <a:tailEnd type="none" w="sm" len="sm"/>
              </a:ln>
            </p:spPr>
            <p:txBody>
              <a:bodyPr>
                <a:spAutoFit/>
              </a:bodyPr>
              <a:lstStyle/>
              <a:p>
                <a:pPr>
                  <a:spcBef>
                    <a:spcPct val="50000"/>
                  </a:spcBef>
                </a:pPr>
                <a:r>
                  <a:rPr lang="en-US" sz="900" b="0" u="none"/>
                  <a:t>FL</a:t>
                </a:r>
              </a:p>
            </p:txBody>
          </p:sp>
          <p:sp>
            <p:nvSpPr>
              <p:cNvPr id="49358" name="Text Box 190"/>
              <p:cNvSpPr txBox="1">
                <a:spLocks noChangeArrowheads="1"/>
              </p:cNvSpPr>
              <p:nvPr/>
            </p:nvSpPr>
            <p:spPr bwMode="auto">
              <a:xfrm>
                <a:off x="4176" y="3120"/>
                <a:ext cx="336" cy="276"/>
              </a:xfrm>
              <a:prstGeom prst="rect">
                <a:avLst/>
              </a:prstGeom>
              <a:noFill/>
              <a:ln w="12700">
                <a:noFill/>
                <a:miter lim="800000"/>
                <a:headEnd type="none" w="sm" len="sm"/>
                <a:tailEnd type="none" w="sm" len="sm"/>
              </a:ln>
            </p:spPr>
            <p:txBody>
              <a:bodyPr>
                <a:spAutoFit/>
              </a:bodyPr>
              <a:lstStyle/>
              <a:p>
                <a:pPr>
                  <a:spcBef>
                    <a:spcPct val="50000"/>
                  </a:spcBef>
                </a:pPr>
                <a:endParaRPr lang="en-US" sz="900" b="0" u="none" dirty="0"/>
              </a:p>
              <a:p>
                <a:pPr>
                  <a:spcBef>
                    <a:spcPct val="50000"/>
                  </a:spcBef>
                </a:pPr>
                <a:endParaRPr lang="en-US" sz="900" b="0" u="none" dirty="0"/>
              </a:p>
            </p:txBody>
          </p:sp>
        </p:grpSp>
        <p:sp>
          <p:nvSpPr>
            <p:cNvPr id="49329" name="Text Box 192"/>
            <p:cNvSpPr txBox="1">
              <a:spLocks noChangeArrowheads="1"/>
            </p:cNvSpPr>
            <p:nvPr/>
          </p:nvSpPr>
          <p:spPr bwMode="auto">
            <a:xfrm>
              <a:off x="6781800" y="3336925"/>
              <a:ext cx="342900" cy="230832"/>
            </a:xfrm>
            <a:prstGeom prst="rect">
              <a:avLst/>
            </a:prstGeom>
            <a:noFill/>
            <a:ln w="12700">
              <a:noFill/>
              <a:miter lim="800000"/>
              <a:headEnd type="none" w="sm" len="sm"/>
              <a:tailEnd type="none" w="sm" len="sm"/>
            </a:ln>
          </p:spPr>
          <p:txBody>
            <a:bodyPr wrap="square">
              <a:spAutoFit/>
            </a:bodyPr>
            <a:lstStyle/>
            <a:p>
              <a:pPr>
                <a:spcBef>
                  <a:spcPct val="50000"/>
                </a:spcBef>
              </a:pPr>
              <a:endParaRPr lang="en-US" sz="900" b="0" u="none" dirty="0"/>
            </a:p>
          </p:txBody>
        </p:sp>
        <p:sp>
          <p:nvSpPr>
            <p:cNvPr id="49330" name="Text Box 193"/>
            <p:cNvSpPr txBox="1">
              <a:spLocks noChangeArrowheads="1"/>
            </p:cNvSpPr>
            <p:nvPr/>
          </p:nvSpPr>
          <p:spPr bwMode="auto">
            <a:xfrm>
              <a:off x="6400800" y="3413125"/>
              <a:ext cx="228600" cy="244475"/>
            </a:xfrm>
            <a:prstGeom prst="rect">
              <a:avLst/>
            </a:prstGeom>
            <a:noFill/>
            <a:ln w="12700">
              <a:noFill/>
              <a:miter lim="800000"/>
              <a:headEnd type="none" w="sm" len="sm"/>
              <a:tailEnd type="none" w="sm" len="sm"/>
            </a:ln>
          </p:spPr>
          <p:txBody>
            <a:bodyPr>
              <a:spAutoFit/>
            </a:bodyPr>
            <a:lstStyle/>
            <a:p>
              <a:pPr>
                <a:spcBef>
                  <a:spcPct val="50000"/>
                </a:spcBef>
              </a:pPr>
              <a:endParaRPr lang="en-US" sz="1000" b="0" u="none" dirty="0"/>
            </a:p>
          </p:txBody>
        </p:sp>
        <p:sp>
          <p:nvSpPr>
            <p:cNvPr id="49333" name="Text Box 196"/>
            <p:cNvSpPr txBox="1">
              <a:spLocks noChangeArrowheads="1"/>
            </p:cNvSpPr>
            <p:nvPr/>
          </p:nvSpPr>
          <p:spPr bwMode="auto">
            <a:xfrm>
              <a:off x="7543800" y="1720850"/>
              <a:ext cx="304800" cy="228600"/>
            </a:xfrm>
            <a:prstGeom prst="rect">
              <a:avLst/>
            </a:prstGeom>
            <a:noFill/>
            <a:ln w="12700">
              <a:noFill/>
              <a:miter lim="800000"/>
              <a:headEnd type="none" w="sm" len="sm"/>
              <a:tailEnd type="none" w="sm" len="sm"/>
            </a:ln>
          </p:spPr>
          <p:txBody>
            <a:bodyPr>
              <a:spAutoFit/>
            </a:bodyPr>
            <a:lstStyle/>
            <a:p>
              <a:pPr>
                <a:spcBef>
                  <a:spcPct val="50000"/>
                </a:spcBef>
              </a:pPr>
              <a:r>
                <a:rPr lang="en-US" sz="900" b="0" u="none"/>
                <a:t>8</a:t>
              </a:r>
            </a:p>
          </p:txBody>
        </p:sp>
        <p:grpSp>
          <p:nvGrpSpPr>
            <p:cNvPr id="49334" name="Group 197"/>
            <p:cNvGrpSpPr>
              <a:grpSpLocks/>
            </p:cNvGrpSpPr>
            <p:nvPr/>
          </p:nvGrpSpPr>
          <p:grpSpPr bwMode="auto">
            <a:xfrm>
              <a:off x="7467600" y="3336925"/>
              <a:ext cx="609600" cy="381000"/>
              <a:chOff x="4704" y="1920"/>
              <a:chExt cx="384" cy="240"/>
            </a:xfrm>
          </p:grpSpPr>
          <p:sp>
            <p:nvSpPr>
              <p:cNvPr id="49355" name="Text Box 198"/>
              <p:cNvSpPr txBox="1">
                <a:spLocks noChangeArrowheads="1"/>
              </p:cNvSpPr>
              <p:nvPr/>
            </p:nvSpPr>
            <p:spPr bwMode="auto">
              <a:xfrm>
                <a:off x="4704" y="1920"/>
                <a:ext cx="240" cy="144"/>
              </a:xfrm>
              <a:prstGeom prst="rect">
                <a:avLst/>
              </a:prstGeom>
              <a:noFill/>
              <a:ln w="12700">
                <a:noFill/>
                <a:miter lim="800000"/>
                <a:headEnd type="none" w="sm" len="sm"/>
                <a:tailEnd type="none" w="sm" len="sm"/>
              </a:ln>
            </p:spPr>
            <p:txBody>
              <a:bodyPr>
                <a:spAutoFit/>
              </a:bodyPr>
              <a:lstStyle/>
              <a:p>
                <a:pPr>
                  <a:spcBef>
                    <a:spcPct val="50000"/>
                  </a:spcBef>
                </a:pPr>
                <a:r>
                  <a:rPr lang="en-US" sz="900" b="0" u="none" dirty="0"/>
                  <a:t>DE</a:t>
                </a:r>
              </a:p>
            </p:txBody>
          </p:sp>
          <p:sp>
            <p:nvSpPr>
              <p:cNvPr id="49356" name="Text Box 199"/>
              <p:cNvSpPr txBox="1">
                <a:spLocks noChangeArrowheads="1"/>
              </p:cNvSpPr>
              <p:nvPr/>
            </p:nvSpPr>
            <p:spPr bwMode="auto">
              <a:xfrm>
                <a:off x="4800" y="2016"/>
                <a:ext cx="288" cy="144"/>
              </a:xfrm>
              <a:prstGeom prst="rect">
                <a:avLst/>
              </a:prstGeom>
              <a:noFill/>
              <a:ln w="12700">
                <a:noFill/>
                <a:miter lim="800000"/>
                <a:headEnd type="none" w="sm" len="sm"/>
                <a:tailEnd type="none" w="sm" len="sm"/>
              </a:ln>
            </p:spPr>
            <p:txBody>
              <a:bodyPr>
                <a:spAutoFit/>
              </a:bodyPr>
              <a:lstStyle/>
              <a:p>
                <a:pPr>
                  <a:spcBef>
                    <a:spcPct val="50000"/>
                  </a:spcBef>
                </a:pPr>
                <a:endParaRPr lang="en-US" sz="900" b="0" u="none" dirty="0"/>
              </a:p>
            </p:txBody>
          </p:sp>
        </p:grpSp>
        <p:sp>
          <p:nvSpPr>
            <p:cNvPr id="49353" name="Text Box 201"/>
            <p:cNvSpPr txBox="1">
              <a:spLocks noChangeArrowheads="1"/>
            </p:cNvSpPr>
            <p:nvPr/>
          </p:nvSpPr>
          <p:spPr bwMode="auto">
            <a:xfrm>
              <a:off x="7966075" y="3130550"/>
              <a:ext cx="433332" cy="230832"/>
            </a:xfrm>
            <a:prstGeom prst="rect">
              <a:avLst/>
            </a:prstGeom>
            <a:noFill/>
            <a:ln w="12700">
              <a:noFill/>
              <a:miter lim="800000"/>
              <a:headEnd type="none" w="sm" len="sm"/>
              <a:tailEnd type="none" w="sm" len="sm"/>
            </a:ln>
          </p:spPr>
          <p:txBody>
            <a:bodyPr wrap="square">
              <a:spAutoFit/>
            </a:bodyPr>
            <a:lstStyle/>
            <a:p>
              <a:pPr>
                <a:spcBef>
                  <a:spcPct val="50000"/>
                </a:spcBef>
              </a:pPr>
              <a:r>
                <a:rPr lang="en-US" sz="900" b="0" u="none"/>
                <a:t>     </a:t>
              </a:r>
            </a:p>
          </p:txBody>
        </p:sp>
        <p:pic>
          <p:nvPicPr>
            <p:cNvPr id="49337" name="Picture 204"/>
            <p:cNvPicPr>
              <a:picLocks noChangeAspect="1" noChangeArrowheads="1"/>
            </p:cNvPicPr>
            <p:nvPr/>
          </p:nvPicPr>
          <p:blipFill>
            <a:blip r:embed="rId16">
              <a:biLevel thresh="75000"/>
            </a:blip>
            <a:srcRect/>
            <a:stretch>
              <a:fillRect/>
            </a:stretch>
          </p:blipFill>
          <p:spPr bwMode="auto">
            <a:xfrm>
              <a:off x="228600" y="3017838"/>
              <a:ext cx="838200" cy="762000"/>
            </a:xfrm>
            <a:prstGeom prst="rect">
              <a:avLst/>
            </a:prstGeom>
            <a:noFill/>
            <a:ln w="38100" cmpd="sng">
              <a:solidFill>
                <a:srgbClr val="006600"/>
              </a:solidFill>
              <a:miter lim="800000"/>
              <a:headEnd/>
              <a:tailEnd/>
            </a:ln>
          </p:spPr>
        </p:pic>
        <p:sp>
          <p:nvSpPr>
            <p:cNvPr id="49338" name="Text Box 205"/>
            <p:cNvSpPr txBox="1">
              <a:spLocks noChangeArrowheads="1"/>
            </p:cNvSpPr>
            <p:nvPr/>
          </p:nvSpPr>
          <p:spPr bwMode="auto">
            <a:xfrm>
              <a:off x="304800" y="3489325"/>
              <a:ext cx="533400" cy="228600"/>
            </a:xfrm>
            <a:prstGeom prst="rect">
              <a:avLst/>
            </a:prstGeom>
            <a:solidFill>
              <a:schemeClr val="bg1"/>
            </a:solidFill>
            <a:ln w="12700">
              <a:noFill/>
              <a:miter lim="800000"/>
              <a:headEnd type="none" w="sm" len="sm"/>
              <a:tailEnd type="none" w="sm" len="sm"/>
            </a:ln>
          </p:spPr>
          <p:txBody>
            <a:bodyPr>
              <a:spAutoFit/>
            </a:bodyPr>
            <a:lstStyle/>
            <a:p>
              <a:pPr algn="ctr">
                <a:spcBef>
                  <a:spcPct val="50000"/>
                </a:spcBef>
              </a:pPr>
              <a:r>
                <a:rPr lang="en-US" sz="900" b="0" u="none" dirty="0"/>
                <a:t>HI   </a:t>
              </a:r>
            </a:p>
          </p:txBody>
        </p:sp>
        <p:sp>
          <p:nvSpPr>
            <p:cNvPr id="49339" name="Text Box 206"/>
            <p:cNvSpPr txBox="1">
              <a:spLocks noChangeArrowheads="1"/>
            </p:cNvSpPr>
            <p:nvPr/>
          </p:nvSpPr>
          <p:spPr bwMode="auto">
            <a:xfrm>
              <a:off x="6762750" y="3444877"/>
              <a:ext cx="381000" cy="228600"/>
            </a:xfrm>
            <a:prstGeom prst="rect">
              <a:avLst/>
            </a:prstGeom>
            <a:noFill/>
            <a:ln w="12700">
              <a:noFill/>
              <a:miter lim="800000"/>
              <a:headEnd type="none" w="sm" len="sm"/>
              <a:tailEnd type="none" w="sm" len="sm"/>
            </a:ln>
          </p:spPr>
          <p:txBody>
            <a:bodyPr>
              <a:spAutoFit/>
            </a:bodyPr>
            <a:lstStyle/>
            <a:p>
              <a:pPr>
                <a:spcBef>
                  <a:spcPct val="50000"/>
                </a:spcBef>
              </a:pPr>
              <a:r>
                <a:rPr lang="en-US" sz="900" b="0" u="none" dirty="0"/>
                <a:t>VA</a:t>
              </a:r>
            </a:p>
          </p:txBody>
        </p:sp>
        <p:grpSp>
          <p:nvGrpSpPr>
            <p:cNvPr id="49343" name="Group 217"/>
            <p:cNvGrpSpPr>
              <a:grpSpLocks/>
            </p:cNvGrpSpPr>
            <p:nvPr/>
          </p:nvGrpSpPr>
          <p:grpSpPr bwMode="auto">
            <a:xfrm>
              <a:off x="7086600" y="3276602"/>
              <a:ext cx="1295400" cy="763588"/>
              <a:chOff x="4464" y="2064"/>
              <a:chExt cx="816" cy="481"/>
            </a:xfrm>
          </p:grpSpPr>
          <p:sp>
            <p:nvSpPr>
              <p:cNvPr id="49344" name="Line 218"/>
              <p:cNvSpPr>
                <a:spLocks noChangeShapeType="1"/>
              </p:cNvSpPr>
              <p:nvPr/>
            </p:nvSpPr>
            <p:spPr bwMode="auto">
              <a:xfrm>
                <a:off x="4464" y="2064"/>
                <a:ext cx="624" cy="384"/>
              </a:xfrm>
              <a:prstGeom prst="line">
                <a:avLst/>
              </a:prstGeom>
              <a:noFill/>
              <a:ln w="12700">
                <a:solidFill>
                  <a:schemeClr val="tx1"/>
                </a:solidFill>
                <a:round/>
                <a:headEnd type="none" w="sm" len="sm"/>
                <a:tailEnd type="triangle" w="sm" len="sm"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9345" name="Text Box 219"/>
              <p:cNvSpPr txBox="1">
                <a:spLocks noChangeArrowheads="1"/>
              </p:cNvSpPr>
              <p:nvPr/>
            </p:nvSpPr>
            <p:spPr bwMode="auto">
              <a:xfrm>
                <a:off x="5040" y="2400"/>
                <a:ext cx="240" cy="145"/>
              </a:xfrm>
              <a:prstGeom prst="rect">
                <a:avLst/>
              </a:prstGeom>
              <a:noFill/>
              <a:ln w="12700">
                <a:noFill/>
                <a:miter lim="800000"/>
                <a:headEnd type="none" w="sm" len="sm"/>
                <a:tailEnd type="none" w="sm" len="sm"/>
              </a:ln>
            </p:spPr>
            <p:txBody>
              <a:bodyPr>
                <a:spAutoFit/>
              </a:bodyPr>
              <a:lstStyle/>
              <a:p>
                <a:pPr>
                  <a:spcBef>
                    <a:spcPct val="50000"/>
                  </a:spcBef>
                </a:pPr>
                <a:r>
                  <a:rPr lang="en-US" sz="900" b="0" u="none" dirty="0" smtClean="0"/>
                  <a:t>DC</a:t>
                </a:r>
                <a:endParaRPr lang="en-US" sz="900" b="0" u="none" dirty="0"/>
              </a:p>
            </p:txBody>
          </p:sp>
        </p:grpSp>
        <p:sp>
          <p:nvSpPr>
            <p:cNvPr id="49372" name="Text Box 220"/>
            <p:cNvSpPr txBox="1">
              <a:spLocks noChangeArrowheads="1"/>
            </p:cNvSpPr>
            <p:nvPr/>
          </p:nvSpPr>
          <p:spPr bwMode="auto">
            <a:xfrm>
              <a:off x="6789198" y="3706297"/>
              <a:ext cx="351378" cy="36933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>
              <a:spAutoFit/>
            </a:bodyPr>
            <a:lstStyle/>
            <a:p>
              <a:r>
                <a:rPr lang="en-US" sz="900" b="0" u="none" dirty="0"/>
                <a:t>NC</a:t>
              </a:r>
            </a:p>
            <a:p>
              <a:endParaRPr lang="en-US" sz="900" b="0" u="none" dirty="0"/>
            </a:p>
          </p:txBody>
        </p:sp>
        <p:sp>
          <p:nvSpPr>
            <p:cNvPr id="49373" name="Text Box 221"/>
            <p:cNvSpPr txBox="1">
              <a:spLocks noChangeArrowheads="1"/>
            </p:cNvSpPr>
            <p:nvPr/>
          </p:nvSpPr>
          <p:spPr bwMode="auto">
            <a:xfrm>
              <a:off x="6575425" y="4059238"/>
              <a:ext cx="344966" cy="36933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>
              <a:spAutoFit/>
            </a:bodyPr>
            <a:lstStyle/>
            <a:p>
              <a:r>
                <a:rPr lang="en-US" sz="900" b="0" u="none" dirty="0"/>
                <a:t>SC</a:t>
              </a:r>
            </a:p>
            <a:p>
              <a:endParaRPr lang="en-US" sz="900" b="0" u="none" dirty="0"/>
            </a:p>
          </p:txBody>
        </p:sp>
      </p:grpSp>
      <p:graphicFrame>
        <p:nvGraphicFramePr>
          <p:cNvPr id="9" name="Table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2059439"/>
              </p:ext>
            </p:extLst>
          </p:nvPr>
        </p:nvGraphicFramePr>
        <p:xfrm>
          <a:off x="165100" y="4351928"/>
          <a:ext cx="925370" cy="9144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25370"/>
              </a:tblGrid>
              <a:tr h="211496">
                <a:tc>
                  <a:txBody>
                    <a:bodyPr/>
                    <a:lstStyle/>
                    <a:p>
                      <a:r>
                        <a:rPr lang="en-US" sz="900" b="1" dirty="0" smtClean="0">
                          <a:solidFill>
                            <a:schemeClr val="bg1"/>
                          </a:solidFill>
                        </a:rPr>
                        <a:t>Engineers</a:t>
                      </a:r>
                      <a:endParaRPr lang="en-US" sz="900" b="1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solidFill>
                      <a:srgbClr val="0070C0"/>
                    </a:solidFill>
                  </a:tcPr>
                </a:tc>
              </a:tr>
              <a:tr h="176940">
                <a:tc>
                  <a:txBody>
                    <a:bodyPr/>
                    <a:lstStyle/>
                    <a:p>
                      <a:r>
                        <a:rPr lang="en-US" sz="900" b="1" dirty="0" smtClean="0"/>
                        <a:t>CAS</a:t>
                      </a:r>
                      <a:endParaRPr lang="en-US" sz="900" b="1" dirty="0"/>
                    </a:p>
                  </a:txBody>
                  <a:tcPr>
                    <a:solidFill>
                      <a:srgbClr val="92D050"/>
                    </a:solidFill>
                  </a:tcPr>
                </a:tc>
              </a:tr>
              <a:tr h="211496">
                <a:tc>
                  <a:txBody>
                    <a:bodyPr/>
                    <a:lstStyle/>
                    <a:p>
                      <a:r>
                        <a:rPr lang="en-US" sz="900" b="1" dirty="0" smtClean="0"/>
                        <a:t>GHW</a:t>
                      </a:r>
                      <a:endParaRPr lang="en-US" sz="900" b="1" dirty="0"/>
                    </a:p>
                  </a:txBody>
                  <a:tcPr>
                    <a:solidFill>
                      <a:srgbClr val="92D050"/>
                    </a:solidFill>
                  </a:tcPr>
                </a:tc>
              </a:tr>
              <a:tr h="211496">
                <a:tc>
                  <a:txBody>
                    <a:bodyPr/>
                    <a:lstStyle/>
                    <a:p>
                      <a:r>
                        <a:rPr lang="en-US" sz="900" b="1" dirty="0" smtClean="0"/>
                        <a:t>TCS</a:t>
                      </a:r>
                      <a:endParaRPr lang="en-US" sz="900" b="1" dirty="0"/>
                    </a:p>
                  </a:txBody>
                  <a:tcPr>
                    <a:solidFill>
                      <a:srgbClr val="CC99FF"/>
                    </a:solidFill>
                  </a:tcPr>
                </a:tc>
              </a:tr>
            </a:tbl>
          </a:graphicData>
        </a:graphic>
      </p:graphicFrame>
      <p:sp>
        <p:nvSpPr>
          <p:cNvPr id="14" name="Freeform 13"/>
          <p:cNvSpPr/>
          <p:nvPr/>
        </p:nvSpPr>
        <p:spPr>
          <a:xfrm>
            <a:off x="3248025" y="1628775"/>
            <a:ext cx="771525" cy="2952750"/>
          </a:xfrm>
          <a:custGeom>
            <a:avLst/>
            <a:gdLst>
              <a:gd name="connsiteX0" fmla="*/ 609600 w 771525"/>
              <a:gd name="connsiteY0" fmla="*/ 0 h 2952750"/>
              <a:gd name="connsiteX1" fmla="*/ 619125 w 771525"/>
              <a:gd name="connsiteY1" fmla="*/ 66675 h 2952750"/>
              <a:gd name="connsiteX2" fmla="*/ 590550 w 771525"/>
              <a:gd name="connsiteY2" fmla="*/ 381000 h 2952750"/>
              <a:gd name="connsiteX3" fmla="*/ 581025 w 771525"/>
              <a:gd name="connsiteY3" fmla="*/ 419100 h 2952750"/>
              <a:gd name="connsiteX4" fmla="*/ 561975 w 771525"/>
              <a:gd name="connsiteY4" fmla="*/ 523875 h 2952750"/>
              <a:gd name="connsiteX5" fmla="*/ 542925 w 771525"/>
              <a:gd name="connsiteY5" fmla="*/ 723900 h 2952750"/>
              <a:gd name="connsiteX6" fmla="*/ 523875 w 771525"/>
              <a:gd name="connsiteY6" fmla="*/ 828675 h 2952750"/>
              <a:gd name="connsiteX7" fmla="*/ 504825 w 771525"/>
              <a:gd name="connsiteY7" fmla="*/ 1076325 h 2952750"/>
              <a:gd name="connsiteX8" fmla="*/ 495300 w 771525"/>
              <a:gd name="connsiteY8" fmla="*/ 1114425 h 2952750"/>
              <a:gd name="connsiteX9" fmla="*/ 476250 w 771525"/>
              <a:gd name="connsiteY9" fmla="*/ 1200150 h 2952750"/>
              <a:gd name="connsiteX10" fmla="*/ 485775 w 771525"/>
              <a:gd name="connsiteY10" fmla="*/ 1371600 h 2952750"/>
              <a:gd name="connsiteX11" fmla="*/ 542925 w 771525"/>
              <a:gd name="connsiteY11" fmla="*/ 1390650 h 2952750"/>
              <a:gd name="connsiteX12" fmla="*/ 666750 w 771525"/>
              <a:gd name="connsiteY12" fmla="*/ 1409700 h 2952750"/>
              <a:gd name="connsiteX13" fmla="*/ 714375 w 771525"/>
              <a:gd name="connsiteY13" fmla="*/ 1419225 h 2952750"/>
              <a:gd name="connsiteX14" fmla="*/ 771525 w 771525"/>
              <a:gd name="connsiteY14" fmla="*/ 1428750 h 2952750"/>
              <a:gd name="connsiteX15" fmla="*/ 762000 w 771525"/>
              <a:gd name="connsiteY15" fmla="*/ 1485900 h 2952750"/>
              <a:gd name="connsiteX16" fmla="*/ 752475 w 771525"/>
              <a:gd name="connsiteY16" fmla="*/ 1524000 h 2952750"/>
              <a:gd name="connsiteX17" fmla="*/ 742950 w 771525"/>
              <a:gd name="connsiteY17" fmla="*/ 1571625 h 2952750"/>
              <a:gd name="connsiteX18" fmla="*/ 733425 w 771525"/>
              <a:gd name="connsiteY18" fmla="*/ 1676400 h 2952750"/>
              <a:gd name="connsiteX19" fmla="*/ 723900 w 771525"/>
              <a:gd name="connsiteY19" fmla="*/ 1704975 h 2952750"/>
              <a:gd name="connsiteX20" fmla="*/ 714375 w 771525"/>
              <a:gd name="connsiteY20" fmla="*/ 1857375 h 2952750"/>
              <a:gd name="connsiteX21" fmla="*/ 704850 w 771525"/>
              <a:gd name="connsiteY21" fmla="*/ 1885950 h 2952750"/>
              <a:gd name="connsiteX22" fmla="*/ 695325 w 771525"/>
              <a:gd name="connsiteY22" fmla="*/ 1933575 h 2952750"/>
              <a:gd name="connsiteX23" fmla="*/ 676275 w 771525"/>
              <a:gd name="connsiteY23" fmla="*/ 2028825 h 2952750"/>
              <a:gd name="connsiteX24" fmla="*/ 666750 w 771525"/>
              <a:gd name="connsiteY24" fmla="*/ 2066925 h 2952750"/>
              <a:gd name="connsiteX25" fmla="*/ 638175 w 771525"/>
              <a:gd name="connsiteY25" fmla="*/ 2076450 h 2952750"/>
              <a:gd name="connsiteX26" fmla="*/ 571500 w 771525"/>
              <a:gd name="connsiteY26" fmla="*/ 2085975 h 2952750"/>
              <a:gd name="connsiteX27" fmla="*/ 552450 w 771525"/>
              <a:gd name="connsiteY27" fmla="*/ 2114550 h 2952750"/>
              <a:gd name="connsiteX28" fmla="*/ 533400 w 771525"/>
              <a:gd name="connsiteY28" fmla="*/ 2209800 h 2952750"/>
              <a:gd name="connsiteX29" fmla="*/ 523875 w 771525"/>
              <a:gd name="connsiteY29" fmla="*/ 2247900 h 2952750"/>
              <a:gd name="connsiteX30" fmla="*/ 514350 w 771525"/>
              <a:gd name="connsiteY30" fmla="*/ 2276475 h 2952750"/>
              <a:gd name="connsiteX31" fmla="*/ 495300 w 771525"/>
              <a:gd name="connsiteY31" fmla="*/ 2362200 h 2952750"/>
              <a:gd name="connsiteX32" fmla="*/ 485775 w 771525"/>
              <a:gd name="connsiteY32" fmla="*/ 2667000 h 2952750"/>
              <a:gd name="connsiteX33" fmla="*/ 476250 w 771525"/>
              <a:gd name="connsiteY33" fmla="*/ 2733675 h 2952750"/>
              <a:gd name="connsiteX34" fmla="*/ 466725 w 771525"/>
              <a:gd name="connsiteY34" fmla="*/ 2847975 h 2952750"/>
              <a:gd name="connsiteX35" fmla="*/ 438150 w 771525"/>
              <a:gd name="connsiteY35" fmla="*/ 2952750 h 2952750"/>
              <a:gd name="connsiteX36" fmla="*/ 333375 w 771525"/>
              <a:gd name="connsiteY36" fmla="*/ 2943225 h 2952750"/>
              <a:gd name="connsiteX37" fmla="*/ 295275 w 771525"/>
              <a:gd name="connsiteY37" fmla="*/ 2933700 h 2952750"/>
              <a:gd name="connsiteX38" fmla="*/ 200025 w 771525"/>
              <a:gd name="connsiteY38" fmla="*/ 2914650 h 2952750"/>
              <a:gd name="connsiteX39" fmla="*/ 133350 w 771525"/>
              <a:gd name="connsiteY39" fmla="*/ 2895600 h 2952750"/>
              <a:gd name="connsiteX40" fmla="*/ 47625 w 771525"/>
              <a:gd name="connsiteY40" fmla="*/ 2905125 h 2952750"/>
              <a:gd name="connsiteX41" fmla="*/ 0 w 771525"/>
              <a:gd name="connsiteY41" fmla="*/ 2924175 h 29527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</a:cxnLst>
            <a:rect l="l" t="t" r="r" b="b"/>
            <a:pathLst>
              <a:path w="771525" h="2952750">
                <a:moveTo>
                  <a:pt x="609600" y="0"/>
                </a:moveTo>
                <a:cubicBezTo>
                  <a:pt x="612775" y="22225"/>
                  <a:pt x="619785" y="44234"/>
                  <a:pt x="619125" y="66675"/>
                </a:cubicBezTo>
                <a:cubicBezTo>
                  <a:pt x="616754" y="147287"/>
                  <a:pt x="610139" y="283056"/>
                  <a:pt x="590550" y="381000"/>
                </a:cubicBezTo>
                <a:cubicBezTo>
                  <a:pt x="587983" y="393837"/>
                  <a:pt x="583367" y="406220"/>
                  <a:pt x="581025" y="419100"/>
                </a:cubicBezTo>
                <a:cubicBezTo>
                  <a:pt x="558272" y="544240"/>
                  <a:pt x="583579" y="437461"/>
                  <a:pt x="561975" y="523875"/>
                </a:cubicBezTo>
                <a:cubicBezTo>
                  <a:pt x="545799" y="766521"/>
                  <a:pt x="562468" y="587096"/>
                  <a:pt x="542925" y="723900"/>
                </a:cubicBezTo>
                <a:cubicBezTo>
                  <a:pt x="529462" y="818140"/>
                  <a:pt x="542551" y="772648"/>
                  <a:pt x="523875" y="828675"/>
                </a:cubicBezTo>
                <a:cubicBezTo>
                  <a:pt x="519126" y="914163"/>
                  <a:pt x="518679" y="993202"/>
                  <a:pt x="504825" y="1076325"/>
                </a:cubicBezTo>
                <a:cubicBezTo>
                  <a:pt x="502673" y="1089238"/>
                  <a:pt x="498140" y="1101646"/>
                  <a:pt x="495300" y="1114425"/>
                </a:cubicBezTo>
                <a:cubicBezTo>
                  <a:pt x="471115" y="1223256"/>
                  <a:pt x="499479" y="1107232"/>
                  <a:pt x="476250" y="1200150"/>
                </a:cubicBezTo>
                <a:cubicBezTo>
                  <a:pt x="479425" y="1257300"/>
                  <a:pt x="466866" y="1317575"/>
                  <a:pt x="485775" y="1371600"/>
                </a:cubicBezTo>
                <a:cubicBezTo>
                  <a:pt x="492409" y="1390553"/>
                  <a:pt x="523875" y="1384300"/>
                  <a:pt x="542925" y="1390650"/>
                </a:cubicBezTo>
                <a:cubicBezTo>
                  <a:pt x="607290" y="1412105"/>
                  <a:pt x="543970" y="1393329"/>
                  <a:pt x="666750" y="1409700"/>
                </a:cubicBezTo>
                <a:cubicBezTo>
                  <a:pt x="682797" y="1411840"/>
                  <a:pt x="698447" y="1416329"/>
                  <a:pt x="714375" y="1419225"/>
                </a:cubicBezTo>
                <a:cubicBezTo>
                  <a:pt x="733376" y="1422680"/>
                  <a:pt x="752475" y="1425575"/>
                  <a:pt x="771525" y="1428750"/>
                </a:cubicBezTo>
                <a:cubicBezTo>
                  <a:pt x="768350" y="1447800"/>
                  <a:pt x="765788" y="1466962"/>
                  <a:pt x="762000" y="1485900"/>
                </a:cubicBezTo>
                <a:cubicBezTo>
                  <a:pt x="759433" y="1498737"/>
                  <a:pt x="755315" y="1511221"/>
                  <a:pt x="752475" y="1524000"/>
                </a:cubicBezTo>
                <a:cubicBezTo>
                  <a:pt x="748963" y="1539804"/>
                  <a:pt x="746125" y="1555750"/>
                  <a:pt x="742950" y="1571625"/>
                </a:cubicBezTo>
                <a:cubicBezTo>
                  <a:pt x="739775" y="1606550"/>
                  <a:pt x="738385" y="1641683"/>
                  <a:pt x="733425" y="1676400"/>
                </a:cubicBezTo>
                <a:cubicBezTo>
                  <a:pt x="732005" y="1686339"/>
                  <a:pt x="724951" y="1694990"/>
                  <a:pt x="723900" y="1704975"/>
                </a:cubicBezTo>
                <a:cubicBezTo>
                  <a:pt x="718572" y="1755594"/>
                  <a:pt x="719703" y="1806756"/>
                  <a:pt x="714375" y="1857375"/>
                </a:cubicBezTo>
                <a:cubicBezTo>
                  <a:pt x="713324" y="1867360"/>
                  <a:pt x="707285" y="1876210"/>
                  <a:pt x="704850" y="1885950"/>
                </a:cubicBezTo>
                <a:cubicBezTo>
                  <a:pt x="700923" y="1901656"/>
                  <a:pt x="697987" y="1917606"/>
                  <a:pt x="695325" y="1933575"/>
                </a:cubicBezTo>
                <a:cubicBezTo>
                  <a:pt x="672567" y="2070120"/>
                  <a:pt x="698182" y="1952149"/>
                  <a:pt x="676275" y="2028825"/>
                </a:cubicBezTo>
                <a:cubicBezTo>
                  <a:pt x="672679" y="2041412"/>
                  <a:pt x="674928" y="2056703"/>
                  <a:pt x="666750" y="2066925"/>
                </a:cubicBezTo>
                <a:cubicBezTo>
                  <a:pt x="660478" y="2074765"/>
                  <a:pt x="648020" y="2074481"/>
                  <a:pt x="638175" y="2076450"/>
                </a:cubicBezTo>
                <a:cubicBezTo>
                  <a:pt x="616160" y="2080853"/>
                  <a:pt x="593725" y="2082800"/>
                  <a:pt x="571500" y="2085975"/>
                </a:cubicBezTo>
                <a:cubicBezTo>
                  <a:pt x="565150" y="2095500"/>
                  <a:pt x="556959" y="2104028"/>
                  <a:pt x="552450" y="2114550"/>
                </a:cubicBezTo>
                <a:cubicBezTo>
                  <a:pt x="544153" y="2133909"/>
                  <a:pt x="536355" y="2195027"/>
                  <a:pt x="533400" y="2209800"/>
                </a:cubicBezTo>
                <a:cubicBezTo>
                  <a:pt x="530833" y="2222637"/>
                  <a:pt x="527471" y="2235313"/>
                  <a:pt x="523875" y="2247900"/>
                </a:cubicBezTo>
                <a:cubicBezTo>
                  <a:pt x="521117" y="2257554"/>
                  <a:pt x="516528" y="2266674"/>
                  <a:pt x="514350" y="2276475"/>
                </a:cubicBezTo>
                <a:cubicBezTo>
                  <a:pt x="491999" y="2377055"/>
                  <a:pt x="516742" y="2297874"/>
                  <a:pt x="495300" y="2362200"/>
                </a:cubicBezTo>
                <a:cubicBezTo>
                  <a:pt x="492125" y="2463800"/>
                  <a:pt x="490981" y="2565484"/>
                  <a:pt x="485775" y="2667000"/>
                </a:cubicBezTo>
                <a:cubicBezTo>
                  <a:pt x="484625" y="2689421"/>
                  <a:pt x="478600" y="2711348"/>
                  <a:pt x="476250" y="2733675"/>
                </a:cubicBezTo>
                <a:cubicBezTo>
                  <a:pt x="472248" y="2771697"/>
                  <a:pt x="472396" y="2810166"/>
                  <a:pt x="466725" y="2847975"/>
                </a:cubicBezTo>
                <a:cubicBezTo>
                  <a:pt x="460865" y="2887039"/>
                  <a:pt x="449962" y="2917313"/>
                  <a:pt x="438150" y="2952750"/>
                </a:cubicBezTo>
                <a:cubicBezTo>
                  <a:pt x="403225" y="2949575"/>
                  <a:pt x="368136" y="2947860"/>
                  <a:pt x="333375" y="2943225"/>
                </a:cubicBezTo>
                <a:cubicBezTo>
                  <a:pt x="320399" y="2941495"/>
                  <a:pt x="308075" y="2936443"/>
                  <a:pt x="295275" y="2933700"/>
                </a:cubicBezTo>
                <a:cubicBezTo>
                  <a:pt x="263615" y="2926916"/>
                  <a:pt x="230742" y="2924889"/>
                  <a:pt x="200025" y="2914650"/>
                </a:cubicBezTo>
                <a:cubicBezTo>
                  <a:pt x="159031" y="2900985"/>
                  <a:pt x="181190" y="2907560"/>
                  <a:pt x="133350" y="2895600"/>
                </a:cubicBezTo>
                <a:cubicBezTo>
                  <a:pt x="104775" y="2898775"/>
                  <a:pt x="75985" y="2900398"/>
                  <a:pt x="47625" y="2905125"/>
                </a:cubicBezTo>
                <a:cubicBezTo>
                  <a:pt x="29970" y="2908068"/>
                  <a:pt x="15546" y="2916402"/>
                  <a:pt x="0" y="2924175"/>
                </a:cubicBezTo>
              </a:path>
            </a:pathLst>
          </a:custGeom>
          <a:noFill/>
          <a:ln w="571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Freeform 14"/>
          <p:cNvSpPr/>
          <p:nvPr/>
        </p:nvSpPr>
        <p:spPr>
          <a:xfrm>
            <a:off x="5076825" y="1838325"/>
            <a:ext cx="553146" cy="3152775"/>
          </a:xfrm>
          <a:custGeom>
            <a:avLst/>
            <a:gdLst>
              <a:gd name="connsiteX0" fmla="*/ 333375 w 553146"/>
              <a:gd name="connsiteY0" fmla="*/ 0 h 3152775"/>
              <a:gd name="connsiteX1" fmla="*/ 285750 w 553146"/>
              <a:gd name="connsiteY1" fmla="*/ 9525 h 3152775"/>
              <a:gd name="connsiteX2" fmla="*/ 228600 w 553146"/>
              <a:gd name="connsiteY2" fmla="*/ 57150 h 3152775"/>
              <a:gd name="connsiteX3" fmla="*/ 190500 w 553146"/>
              <a:gd name="connsiteY3" fmla="*/ 104775 h 3152775"/>
              <a:gd name="connsiteX4" fmla="*/ 123825 w 553146"/>
              <a:gd name="connsiteY4" fmla="*/ 180975 h 3152775"/>
              <a:gd name="connsiteX5" fmla="*/ 85725 w 553146"/>
              <a:gd name="connsiteY5" fmla="*/ 238125 h 3152775"/>
              <a:gd name="connsiteX6" fmla="*/ 76200 w 553146"/>
              <a:gd name="connsiteY6" fmla="*/ 266700 h 3152775"/>
              <a:gd name="connsiteX7" fmla="*/ 38100 w 553146"/>
              <a:gd name="connsiteY7" fmla="*/ 323850 h 3152775"/>
              <a:gd name="connsiteX8" fmla="*/ 19050 w 553146"/>
              <a:gd name="connsiteY8" fmla="*/ 352425 h 3152775"/>
              <a:gd name="connsiteX9" fmla="*/ 0 w 553146"/>
              <a:gd name="connsiteY9" fmla="*/ 381000 h 3152775"/>
              <a:gd name="connsiteX10" fmla="*/ 9525 w 553146"/>
              <a:gd name="connsiteY10" fmla="*/ 504825 h 3152775"/>
              <a:gd name="connsiteX11" fmla="*/ 38100 w 553146"/>
              <a:gd name="connsiteY11" fmla="*/ 561975 h 3152775"/>
              <a:gd name="connsiteX12" fmla="*/ 47625 w 553146"/>
              <a:gd name="connsiteY12" fmla="*/ 590550 h 3152775"/>
              <a:gd name="connsiteX13" fmla="*/ 85725 w 553146"/>
              <a:gd name="connsiteY13" fmla="*/ 647700 h 3152775"/>
              <a:gd name="connsiteX14" fmla="*/ 104775 w 553146"/>
              <a:gd name="connsiteY14" fmla="*/ 676275 h 3152775"/>
              <a:gd name="connsiteX15" fmla="*/ 133350 w 553146"/>
              <a:gd name="connsiteY15" fmla="*/ 733425 h 3152775"/>
              <a:gd name="connsiteX16" fmla="*/ 142875 w 553146"/>
              <a:gd name="connsiteY16" fmla="*/ 762000 h 3152775"/>
              <a:gd name="connsiteX17" fmla="*/ 161925 w 553146"/>
              <a:gd name="connsiteY17" fmla="*/ 790575 h 3152775"/>
              <a:gd name="connsiteX18" fmla="*/ 171450 w 553146"/>
              <a:gd name="connsiteY18" fmla="*/ 819150 h 3152775"/>
              <a:gd name="connsiteX19" fmla="*/ 190500 w 553146"/>
              <a:gd name="connsiteY19" fmla="*/ 847725 h 3152775"/>
              <a:gd name="connsiteX20" fmla="*/ 200025 w 553146"/>
              <a:gd name="connsiteY20" fmla="*/ 876300 h 3152775"/>
              <a:gd name="connsiteX21" fmla="*/ 238125 w 553146"/>
              <a:gd name="connsiteY21" fmla="*/ 933450 h 3152775"/>
              <a:gd name="connsiteX22" fmla="*/ 257175 w 553146"/>
              <a:gd name="connsiteY22" fmla="*/ 962025 h 3152775"/>
              <a:gd name="connsiteX23" fmla="*/ 285750 w 553146"/>
              <a:gd name="connsiteY23" fmla="*/ 1019175 h 3152775"/>
              <a:gd name="connsiteX24" fmla="*/ 295275 w 553146"/>
              <a:gd name="connsiteY24" fmla="*/ 1047750 h 3152775"/>
              <a:gd name="connsiteX25" fmla="*/ 285750 w 553146"/>
              <a:gd name="connsiteY25" fmla="*/ 1095375 h 3152775"/>
              <a:gd name="connsiteX26" fmla="*/ 228600 w 553146"/>
              <a:gd name="connsiteY26" fmla="*/ 1133475 h 3152775"/>
              <a:gd name="connsiteX27" fmla="*/ 219075 w 553146"/>
              <a:gd name="connsiteY27" fmla="*/ 1162050 h 3152775"/>
              <a:gd name="connsiteX28" fmla="*/ 219075 w 553146"/>
              <a:gd name="connsiteY28" fmla="*/ 1476375 h 3152775"/>
              <a:gd name="connsiteX29" fmla="*/ 285750 w 553146"/>
              <a:gd name="connsiteY29" fmla="*/ 1543050 h 3152775"/>
              <a:gd name="connsiteX30" fmla="*/ 314325 w 553146"/>
              <a:gd name="connsiteY30" fmla="*/ 1562100 h 3152775"/>
              <a:gd name="connsiteX31" fmla="*/ 333375 w 553146"/>
              <a:gd name="connsiteY31" fmla="*/ 1590675 h 3152775"/>
              <a:gd name="connsiteX32" fmla="*/ 390525 w 553146"/>
              <a:gd name="connsiteY32" fmla="*/ 1647825 h 3152775"/>
              <a:gd name="connsiteX33" fmla="*/ 428625 w 553146"/>
              <a:gd name="connsiteY33" fmla="*/ 1695450 h 3152775"/>
              <a:gd name="connsiteX34" fmla="*/ 438150 w 553146"/>
              <a:gd name="connsiteY34" fmla="*/ 1733550 h 3152775"/>
              <a:gd name="connsiteX35" fmla="*/ 457200 w 553146"/>
              <a:gd name="connsiteY35" fmla="*/ 1790700 h 3152775"/>
              <a:gd name="connsiteX36" fmla="*/ 447675 w 553146"/>
              <a:gd name="connsiteY36" fmla="*/ 1952625 h 3152775"/>
              <a:gd name="connsiteX37" fmla="*/ 428625 w 553146"/>
              <a:gd name="connsiteY37" fmla="*/ 2009775 h 3152775"/>
              <a:gd name="connsiteX38" fmla="*/ 400050 w 553146"/>
              <a:gd name="connsiteY38" fmla="*/ 2095500 h 3152775"/>
              <a:gd name="connsiteX39" fmla="*/ 390525 w 553146"/>
              <a:gd name="connsiteY39" fmla="*/ 2124075 h 3152775"/>
              <a:gd name="connsiteX40" fmla="*/ 381000 w 553146"/>
              <a:gd name="connsiteY40" fmla="*/ 2152650 h 3152775"/>
              <a:gd name="connsiteX41" fmla="*/ 361950 w 553146"/>
              <a:gd name="connsiteY41" fmla="*/ 2238375 h 3152775"/>
              <a:gd name="connsiteX42" fmla="*/ 342900 w 553146"/>
              <a:gd name="connsiteY42" fmla="*/ 2295525 h 3152775"/>
              <a:gd name="connsiteX43" fmla="*/ 333375 w 553146"/>
              <a:gd name="connsiteY43" fmla="*/ 2324100 h 3152775"/>
              <a:gd name="connsiteX44" fmla="*/ 295275 w 553146"/>
              <a:gd name="connsiteY44" fmla="*/ 2381250 h 3152775"/>
              <a:gd name="connsiteX45" fmla="*/ 276225 w 553146"/>
              <a:gd name="connsiteY45" fmla="*/ 2409825 h 3152775"/>
              <a:gd name="connsiteX46" fmla="*/ 266700 w 553146"/>
              <a:gd name="connsiteY46" fmla="*/ 2438400 h 3152775"/>
              <a:gd name="connsiteX47" fmla="*/ 257175 w 553146"/>
              <a:gd name="connsiteY47" fmla="*/ 2476500 h 3152775"/>
              <a:gd name="connsiteX48" fmla="*/ 238125 w 553146"/>
              <a:gd name="connsiteY48" fmla="*/ 2533650 h 3152775"/>
              <a:gd name="connsiteX49" fmla="*/ 247650 w 553146"/>
              <a:gd name="connsiteY49" fmla="*/ 2647950 h 3152775"/>
              <a:gd name="connsiteX50" fmla="*/ 266700 w 553146"/>
              <a:gd name="connsiteY50" fmla="*/ 2714625 h 3152775"/>
              <a:gd name="connsiteX51" fmla="*/ 247650 w 553146"/>
              <a:gd name="connsiteY51" fmla="*/ 2886075 h 3152775"/>
              <a:gd name="connsiteX52" fmla="*/ 228600 w 553146"/>
              <a:gd name="connsiteY52" fmla="*/ 2943225 h 3152775"/>
              <a:gd name="connsiteX53" fmla="*/ 333375 w 553146"/>
              <a:gd name="connsiteY53" fmla="*/ 2952750 h 3152775"/>
              <a:gd name="connsiteX54" fmla="*/ 514350 w 553146"/>
              <a:gd name="connsiteY54" fmla="*/ 2962275 h 3152775"/>
              <a:gd name="connsiteX55" fmla="*/ 523875 w 553146"/>
              <a:gd name="connsiteY55" fmla="*/ 3028950 h 3152775"/>
              <a:gd name="connsiteX56" fmla="*/ 533400 w 553146"/>
              <a:gd name="connsiteY56" fmla="*/ 3057525 h 3152775"/>
              <a:gd name="connsiteX57" fmla="*/ 542925 w 553146"/>
              <a:gd name="connsiteY57" fmla="*/ 3095625 h 3152775"/>
              <a:gd name="connsiteX58" fmla="*/ 552450 w 553146"/>
              <a:gd name="connsiteY58" fmla="*/ 3124200 h 3152775"/>
              <a:gd name="connsiteX59" fmla="*/ 552450 w 553146"/>
              <a:gd name="connsiteY59" fmla="*/ 3152775 h 31527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</a:cxnLst>
            <a:rect l="l" t="t" r="r" b="b"/>
            <a:pathLst>
              <a:path w="553146" h="3152775">
                <a:moveTo>
                  <a:pt x="333375" y="0"/>
                </a:moveTo>
                <a:cubicBezTo>
                  <a:pt x="317500" y="3175"/>
                  <a:pt x="300909" y="3841"/>
                  <a:pt x="285750" y="9525"/>
                </a:cubicBezTo>
                <a:cubicBezTo>
                  <a:pt x="264532" y="17482"/>
                  <a:pt x="243424" y="42326"/>
                  <a:pt x="228600" y="57150"/>
                </a:cubicBezTo>
                <a:cubicBezTo>
                  <a:pt x="207150" y="121500"/>
                  <a:pt x="236898" y="51749"/>
                  <a:pt x="190500" y="104775"/>
                </a:cubicBezTo>
                <a:cubicBezTo>
                  <a:pt x="112712" y="193675"/>
                  <a:pt x="188119" y="138112"/>
                  <a:pt x="123825" y="180975"/>
                </a:cubicBezTo>
                <a:cubicBezTo>
                  <a:pt x="101177" y="248919"/>
                  <a:pt x="133291" y="166776"/>
                  <a:pt x="85725" y="238125"/>
                </a:cubicBezTo>
                <a:cubicBezTo>
                  <a:pt x="80156" y="246479"/>
                  <a:pt x="81076" y="257923"/>
                  <a:pt x="76200" y="266700"/>
                </a:cubicBezTo>
                <a:cubicBezTo>
                  <a:pt x="65081" y="286714"/>
                  <a:pt x="50800" y="304800"/>
                  <a:pt x="38100" y="323850"/>
                </a:cubicBezTo>
                <a:lnTo>
                  <a:pt x="19050" y="352425"/>
                </a:lnTo>
                <a:lnTo>
                  <a:pt x="0" y="381000"/>
                </a:lnTo>
                <a:cubicBezTo>
                  <a:pt x="3175" y="422275"/>
                  <a:pt x="4390" y="463748"/>
                  <a:pt x="9525" y="504825"/>
                </a:cubicBezTo>
                <a:cubicBezTo>
                  <a:pt x="13515" y="536747"/>
                  <a:pt x="23919" y="533613"/>
                  <a:pt x="38100" y="561975"/>
                </a:cubicBezTo>
                <a:cubicBezTo>
                  <a:pt x="42590" y="570955"/>
                  <a:pt x="42749" y="581773"/>
                  <a:pt x="47625" y="590550"/>
                </a:cubicBezTo>
                <a:cubicBezTo>
                  <a:pt x="58744" y="610564"/>
                  <a:pt x="73025" y="628650"/>
                  <a:pt x="85725" y="647700"/>
                </a:cubicBezTo>
                <a:cubicBezTo>
                  <a:pt x="92075" y="657225"/>
                  <a:pt x="101155" y="665415"/>
                  <a:pt x="104775" y="676275"/>
                </a:cubicBezTo>
                <a:cubicBezTo>
                  <a:pt x="128716" y="748099"/>
                  <a:pt x="96421" y="659567"/>
                  <a:pt x="133350" y="733425"/>
                </a:cubicBezTo>
                <a:cubicBezTo>
                  <a:pt x="137840" y="742405"/>
                  <a:pt x="138385" y="753020"/>
                  <a:pt x="142875" y="762000"/>
                </a:cubicBezTo>
                <a:cubicBezTo>
                  <a:pt x="147995" y="772239"/>
                  <a:pt x="156805" y="780336"/>
                  <a:pt x="161925" y="790575"/>
                </a:cubicBezTo>
                <a:cubicBezTo>
                  <a:pt x="166415" y="799555"/>
                  <a:pt x="166960" y="810170"/>
                  <a:pt x="171450" y="819150"/>
                </a:cubicBezTo>
                <a:cubicBezTo>
                  <a:pt x="176570" y="829389"/>
                  <a:pt x="185380" y="837486"/>
                  <a:pt x="190500" y="847725"/>
                </a:cubicBezTo>
                <a:cubicBezTo>
                  <a:pt x="194990" y="856705"/>
                  <a:pt x="195149" y="867523"/>
                  <a:pt x="200025" y="876300"/>
                </a:cubicBezTo>
                <a:cubicBezTo>
                  <a:pt x="211144" y="896314"/>
                  <a:pt x="225425" y="914400"/>
                  <a:pt x="238125" y="933450"/>
                </a:cubicBezTo>
                <a:cubicBezTo>
                  <a:pt x="244475" y="942975"/>
                  <a:pt x="253555" y="951165"/>
                  <a:pt x="257175" y="962025"/>
                </a:cubicBezTo>
                <a:cubicBezTo>
                  <a:pt x="281116" y="1033849"/>
                  <a:pt x="248821" y="945317"/>
                  <a:pt x="285750" y="1019175"/>
                </a:cubicBezTo>
                <a:cubicBezTo>
                  <a:pt x="290240" y="1028155"/>
                  <a:pt x="292100" y="1038225"/>
                  <a:pt x="295275" y="1047750"/>
                </a:cubicBezTo>
                <a:cubicBezTo>
                  <a:pt x="292100" y="1063625"/>
                  <a:pt x="295689" y="1082596"/>
                  <a:pt x="285750" y="1095375"/>
                </a:cubicBezTo>
                <a:cubicBezTo>
                  <a:pt x="271694" y="1113447"/>
                  <a:pt x="228600" y="1133475"/>
                  <a:pt x="228600" y="1133475"/>
                </a:cubicBezTo>
                <a:cubicBezTo>
                  <a:pt x="225425" y="1143000"/>
                  <a:pt x="220495" y="1152111"/>
                  <a:pt x="219075" y="1162050"/>
                </a:cubicBezTo>
                <a:cubicBezTo>
                  <a:pt x="202684" y="1276790"/>
                  <a:pt x="209026" y="1350765"/>
                  <a:pt x="219075" y="1476375"/>
                </a:cubicBezTo>
                <a:cubicBezTo>
                  <a:pt x="222381" y="1517697"/>
                  <a:pt x="250938" y="1519842"/>
                  <a:pt x="285750" y="1543050"/>
                </a:cubicBezTo>
                <a:lnTo>
                  <a:pt x="314325" y="1562100"/>
                </a:lnTo>
                <a:cubicBezTo>
                  <a:pt x="320675" y="1571625"/>
                  <a:pt x="325770" y="1582119"/>
                  <a:pt x="333375" y="1590675"/>
                </a:cubicBezTo>
                <a:cubicBezTo>
                  <a:pt x="351273" y="1610811"/>
                  <a:pt x="390525" y="1647825"/>
                  <a:pt x="390525" y="1647825"/>
                </a:cubicBezTo>
                <a:cubicBezTo>
                  <a:pt x="421664" y="1741242"/>
                  <a:pt x="371180" y="1609282"/>
                  <a:pt x="428625" y="1695450"/>
                </a:cubicBezTo>
                <a:cubicBezTo>
                  <a:pt x="435887" y="1706342"/>
                  <a:pt x="434388" y="1721011"/>
                  <a:pt x="438150" y="1733550"/>
                </a:cubicBezTo>
                <a:cubicBezTo>
                  <a:pt x="443920" y="1752784"/>
                  <a:pt x="457200" y="1790700"/>
                  <a:pt x="457200" y="1790700"/>
                </a:cubicBezTo>
                <a:cubicBezTo>
                  <a:pt x="454025" y="1844675"/>
                  <a:pt x="454668" y="1899011"/>
                  <a:pt x="447675" y="1952625"/>
                </a:cubicBezTo>
                <a:cubicBezTo>
                  <a:pt x="445078" y="1972537"/>
                  <a:pt x="434975" y="1990725"/>
                  <a:pt x="428625" y="2009775"/>
                </a:cubicBezTo>
                <a:lnTo>
                  <a:pt x="400050" y="2095500"/>
                </a:lnTo>
                <a:lnTo>
                  <a:pt x="390525" y="2124075"/>
                </a:lnTo>
                <a:cubicBezTo>
                  <a:pt x="387350" y="2133600"/>
                  <a:pt x="382969" y="2142805"/>
                  <a:pt x="381000" y="2152650"/>
                </a:cubicBezTo>
                <a:cubicBezTo>
                  <a:pt x="375562" y="2179841"/>
                  <a:pt x="370021" y="2211472"/>
                  <a:pt x="361950" y="2238375"/>
                </a:cubicBezTo>
                <a:cubicBezTo>
                  <a:pt x="356180" y="2257609"/>
                  <a:pt x="349250" y="2276475"/>
                  <a:pt x="342900" y="2295525"/>
                </a:cubicBezTo>
                <a:cubicBezTo>
                  <a:pt x="339725" y="2305050"/>
                  <a:pt x="338944" y="2315746"/>
                  <a:pt x="333375" y="2324100"/>
                </a:cubicBezTo>
                <a:lnTo>
                  <a:pt x="295275" y="2381250"/>
                </a:lnTo>
                <a:cubicBezTo>
                  <a:pt x="288925" y="2390775"/>
                  <a:pt x="279845" y="2398965"/>
                  <a:pt x="276225" y="2409825"/>
                </a:cubicBezTo>
                <a:cubicBezTo>
                  <a:pt x="273050" y="2419350"/>
                  <a:pt x="269458" y="2428746"/>
                  <a:pt x="266700" y="2438400"/>
                </a:cubicBezTo>
                <a:cubicBezTo>
                  <a:pt x="263104" y="2450987"/>
                  <a:pt x="260937" y="2463961"/>
                  <a:pt x="257175" y="2476500"/>
                </a:cubicBezTo>
                <a:cubicBezTo>
                  <a:pt x="251405" y="2495734"/>
                  <a:pt x="238125" y="2533650"/>
                  <a:pt x="238125" y="2533650"/>
                </a:cubicBezTo>
                <a:cubicBezTo>
                  <a:pt x="241300" y="2571750"/>
                  <a:pt x="242908" y="2610013"/>
                  <a:pt x="247650" y="2647950"/>
                </a:cubicBezTo>
                <a:cubicBezTo>
                  <a:pt x="250042" y="2667086"/>
                  <a:pt x="260374" y="2695646"/>
                  <a:pt x="266700" y="2714625"/>
                </a:cubicBezTo>
                <a:cubicBezTo>
                  <a:pt x="263396" y="2754276"/>
                  <a:pt x="259508" y="2838644"/>
                  <a:pt x="247650" y="2886075"/>
                </a:cubicBezTo>
                <a:cubicBezTo>
                  <a:pt x="242780" y="2905556"/>
                  <a:pt x="228600" y="2943225"/>
                  <a:pt x="228600" y="2943225"/>
                </a:cubicBezTo>
                <a:cubicBezTo>
                  <a:pt x="263525" y="2946400"/>
                  <a:pt x="298384" y="2950417"/>
                  <a:pt x="333375" y="2952750"/>
                </a:cubicBezTo>
                <a:cubicBezTo>
                  <a:pt x="393650" y="2956768"/>
                  <a:pt x="458262" y="2939840"/>
                  <a:pt x="514350" y="2962275"/>
                </a:cubicBezTo>
                <a:cubicBezTo>
                  <a:pt x="535195" y="2970613"/>
                  <a:pt x="519472" y="3006935"/>
                  <a:pt x="523875" y="3028950"/>
                </a:cubicBezTo>
                <a:cubicBezTo>
                  <a:pt x="525844" y="3038795"/>
                  <a:pt x="530642" y="3047871"/>
                  <a:pt x="533400" y="3057525"/>
                </a:cubicBezTo>
                <a:cubicBezTo>
                  <a:pt x="536996" y="3070112"/>
                  <a:pt x="539329" y="3083038"/>
                  <a:pt x="542925" y="3095625"/>
                </a:cubicBezTo>
                <a:cubicBezTo>
                  <a:pt x="545683" y="3105279"/>
                  <a:pt x="550799" y="3114296"/>
                  <a:pt x="552450" y="3124200"/>
                </a:cubicBezTo>
                <a:cubicBezTo>
                  <a:pt x="554016" y="3133595"/>
                  <a:pt x="552450" y="3143250"/>
                  <a:pt x="552450" y="3152775"/>
                </a:cubicBezTo>
              </a:path>
            </a:pathLst>
          </a:custGeom>
          <a:noFill/>
          <a:ln w="571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Freeform 16"/>
          <p:cNvSpPr/>
          <p:nvPr/>
        </p:nvSpPr>
        <p:spPr>
          <a:xfrm>
            <a:off x="6362700" y="2771775"/>
            <a:ext cx="895350" cy="914105"/>
          </a:xfrm>
          <a:custGeom>
            <a:avLst/>
            <a:gdLst>
              <a:gd name="connsiteX0" fmla="*/ 200025 w 895350"/>
              <a:gd name="connsiteY0" fmla="*/ 0 h 914105"/>
              <a:gd name="connsiteX1" fmla="*/ 209550 w 895350"/>
              <a:gd name="connsiteY1" fmla="*/ 152400 h 914105"/>
              <a:gd name="connsiteX2" fmla="*/ 228600 w 895350"/>
              <a:gd name="connsiteY2" fmla="*/ 228600 h 914105"/>
              <a:gd name="connsiteX3" fmla="*/ 238125 w 895350"/>
              <a:gd name="connsiteY3" fmla="*/ 266700 h 914105"/>
              <a:gd name="connsiteX4" fmla="*/ 200025 w 895350"/>
              <a:gd name="connsiteY4" fmla="*/ 323850 h 914105"/>
              <a:gd name="connsiteX5" fmla="*/ 190500 w 895350"/>
              <a:gd name="connsiteY5" fmla="*/ 352425 h 914105"/>
              <a:gd name="connsiteX6" fmla="*/ 133350 w 895350"/>
              <a:gd name="connsiteY6" fmla="*/ 409575 h 914105"/>
              <a:gd name="connsiteX7" fmla="*/ 85725 w 895350"/>
              <a:gd name="connsiteY7" fmla="*/ 476250 h 914105"/>
              <a:gd name="connsiteX8" fmla="*/ 66675 w 895350"/>
              <a:gd name="connsiteY8" fmla="*/ 504825 h 914105"/>
              <a:gd name="connsiteX9" fmla="*/ 57150 w 895350"/>
              <a:gd name="connsiteY9" fmla="*/ 533400 h 914105"/>
              <a:gd name="connsiteX10" fmla="*/ 66675 w 895350"/>
              <a:gd name="connsiteY10" fmla="*/ 723900 h 914105"/>
              <a:gd name="connsiteX11" fmla="*/ 95250 w 895350"/>
              <a:gd name="connsiteY11" fmla="*/ 742950 h 914105"/>
              <a:gd name="connsiteX12" fmla="*/ 114300 w 895350"/>
              <a:gd name="connsiteY12" fmla="*/ 771525 h 914105"/>
              <a:gd name="connsiteX13" fmla="*/ 19050 w 895350"/>
              <a:gd name="connsiteY13" fmla="*/ 866775 h 914105"/>
              <a:gd name="connsiteX14" fmla="*/ 0 w 895350"/>
              <a:gd name="connsiteY14" fmla="*/ 895350 h 914105"/>
              <a:gd name="connsiteX15" fmla="*/ 266700 w 895350"/>
              <a:gd name="connsiteY15" fmla="*/ 895350 h 914105"/>
              <a:gd name="connsiteX16" fmla="*/ 352425 w 895350"/>
              <a:gd name="connsiteY16" fmla="*/ 885825 h 914105"/>
              <a:gd name="connsiteX17" fmla="*/ 390525 w 895350"/>
              <a:gd name="connsiteY17" fmla="*/ 866775 h 914105"/>
              <a:gd name="connsiteX18" fmla="*/ 466725 w 895350"/>
              <a:gd name="connsiteY18" fmla="*/ 847725 h 914105"/>
              <a:gd name="connsiteX19" fmla="*/ 609600 w 895350"/>
              <a:gd name="connsiteY19" fmla="*/ 819150 h 914105"/>
              <a:gd name="connsiteX20" fmla="*/ 647700 w 895350"/>
              <a:gd name="connsiteY20" fmla="*/ 809625 h 914105"/>
              <a:gd name="connsiteX21" fmla="*/ 733425 w 895350"/>
              <a:gd name="connsiteY21" fmla="*/ 800100 h 914105"/>
              <a:gd name="connsiteX22" fmla="*/ 771525 w 895350"/>
              <a:gd name="connsiteY22" fmla="*/ 790575 h 914105"/>
              <a:gd name="connsiteX23" fmla="*/ 828675 w 895350"/>
              <a:gd name="connsiteY23" fmla="*/ 781050 h 914105"/>
              <a:gd name="connsiteX24" fmla="*/ 895350 w 895350"/>
              <a:gd name="connsiteY24" fmla="*/ 771525 h 9141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</a:cxnLst>
            <a:rect l="l" t="t" r="r" b="b"/>
            <a:pathLst>
              <a:path w="895350" h="914105">
                <a:moveTo>
                  <a:pt x="200025" y="0"/>
                </a:moveTo>
                <a:cubicBezTo>
                  <a:pt x="203200" y="50800"/>
                  <a:pt x="203237" y="101894"/>
                  <a:pt x="209550" y="152400"/>
                </a:cubicBezTo>
                <a:cubicBezTo>
                  <a:pt x="212797" y="178380"/>
                  <a:pt x="222250" y="203200"/>
                  <a:pt x="228600" y="228600"/>
                </a:cubicBezTo>
                <a:lnTo>
                  <a:pt x="238125" y="266700"/>
                </a:lnTo>
                <a:cubicBezTo>
                  <a:pt x="216250" y="354200"/>
                  <a:pt x="247864" y="264051"/>
                  <a:pt x="200025" y="323850"/>
                </a:cubicBezTo>
                <a:cubicBezTo>
                  <a:pt x="193753" y="331690"/>
                  <a:pt x="196664" y="344500"/>
                  <a:pt x="190500" y="352425"/>
                </a:cubicBezTo>
                <a:cubicBezTo>
                  <a:pt x="173960" y="373691"/>
                  <a:pt x="148294" y="387159"/>
                  <a:pt x="133350" y="409575"/>
                </a:cubicBezTo>
                <a:cubicBezTo>
                  <a:pt x="88455" y="476918"/>
                  <a:pt x="144798" y="393548"/>
                  <a:pt x="85725" y="476250"/>
                </a:cubicBezTo>
                <a:cubicBezTo>
                  <a:pt x="79071" y="485565"/>
                  <a:pt x="71795" y="494586"/>
                  <a:pt x="66675" y="504825"/>
                </a:cubicBezTo>
                <a:cubicBezTo>
                  <a:pt x="62185" y="513805"/>
                  <a:pt x="60325" y="523875"/>
                  <a:pt x="57150" y="533400"/>
                </a:cubicBezTo>
                <a:cubicBezTo>
                  <a:pt x="60325" y="596900"/>
                  <a:pt x="55302" y="661346"/>
                  <a:pt x="66675" y="723900"/>
                </a:cubicBezTo>
                <a:cubicBezTo>
                  <a:pt x="68723" y="735163"/>
                  <a:pt x="87155" y="734855"/>
                  <a:pt x="95250" y="742950"/>
                </a:cubicBezTo>
                <a:cubicBezTo>
                  <a:pt x="103345" y="751045"/>
                  <a:pt x="107950" y="762000"/>
                  <a:pt x="114300" y="771525"/>
                </a:cubicBezTo>
                <a:cubicBezTo>
                  <a:pt x="38100" y="822325"/>
                  <a:pt x="69850" y="790575"/>
                  <a:pt x="19050" y="866775"/>
                </a:cubicBezTo>
                <a:lnTo>
                  <a:pt x="0" y="895350"/>
                </a:lnTo>
                <a:cubicBezTo>
                  <a:pt x="102431" y="929494"/>
                  <a:pt x="30454" y="909247"/>
                  <a:pt x="266700" y="895350"/>
                </a:cubicBezTo>
                <a:cubicBezTo>
                  <a:pt x="295401" y="893662"/>
                  <a:pt x="323850" y="889000"/>
                  <a:pt x="352425" y="885825"/>
                </a:cubicBezTo>
                <a:cubicBezTo>
                  <a:pt x="365125" y="879475"/>
                  <a:pt x="377055" y="871265"/>
                  <a:pt x="390525" y="866775"/>
                </a:cubicBezTo>
                <a:cubicBezTo>
                  <a:pt x="415363" y="858496"/>
                  <a:pt x="466725" y="847725"/>
                  <a:pt x="466725" y="847725"/>
                </a:cubicBezTo>
                <a:cubicBezTo>
                  <a:pt x="530006" y="805537"/>
                  <a:pt x="474222" y="836072"/>
                  <a:pt x="609600" y="819150"/>
                </a:cubicBezTo>
                <a:cubicBezTo>
                  <a:pt x="622590" y="817526"/>
                  <a:pt x="634761" y="811616"/>
                  <a:pt x="647700" y="809625"/>
                </a:cubicBezTo>
                <a:cubicBezTo>
                  <a:pt x="676117" y="805253"/>
                  <a:pt x="704850" y="803275"/>
                  <a:pt x="733425" y="800100"/>
                </a:cubicBezTo>
                <a:cubicBezTo>
                  <a:pt x="746125" y="796925"/>
                  <a:pt x="758688" y="793142"/>
                  <a:pt x="771525" y="790575"/>
                </a:cubicBezTo>
                <a:cubicBezTo>
                  <a:pt x="790463" y="786787"/>
                  <a:pt x="809822" y="785240"/>
                  <a:pt x="828675" y="781050"/>
                </a:cubicBezTo>
                <a:cubicBezTo>
                  <a:pt x="889610" y="767509"/>
                  <a:pt x="821517" y="771525"/>
                  <a:pt x="895350" y="771525"/>
                </a:cubicBezTo>
              </a:path>
            </a:pathLst>
          </a:custGeom>
          <a:noFill/>
          <a:ln w="571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4" name="Text Box 98"/>
          <p:cNvSpPr txBox="1">
            <a:spLocks noChangeArrowheads="1"/>
          </p:cNvSpPr>
          <p:nvPr/>
        </p:nvSpPr>
        <p:spPr bwMode="auto">
          <a:xfrm rot="1379323">
            <a:off x="8028528" y="3042831"/>
            <a:ext cx="602548" cy="230832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</p:spPr>
        <p:txBody>
          <a:bodyPr wrap="square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900" dirty="0" smtClean="0"/>
              <a:t>NY</a:t>
            </a:r>
            <a:endParaRPr lang="en-US" sz="900" b="0" u="none" dirty="0"/>
          </a:p>
        </p:txBody>
      </p:sp>
      <p:cxnSp>
        <p:nvCxnSpPr>
          <p:cNvPr id="8" name="Straight Arrow Connector 7"/>
          <p:cNvCxnSpPr>
            <a:endCxn id="214" idx="1"/>
          </p:cNvCxnSpPr>
          <p:nvPr/>
        </p:nvCxnSpPr>
        <p:spPr>
          <a:xfrm>
            <a:off x="7526338" y="2713628"/>
            <a:ext cx="526117" cy="326956"/>
          </a:xfrm>
          <a:prstGeom prst="straightConnector1">
            <a:avLst/>
          </a:prstGeom>
          <a:ln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6" name="Freeform 77"/>
          <p:cNvSpPr>
            <a:spLocks/>
          </p:cNvSpPr>
          <p:nvPr/>
        </p:nvSpPr>
        <p:spPr bwMode="auto">
          <a:xfrm>
            <a:off x="6045201" y="2731091"/>
            <a:ext cx="541338" cy="309493"/>
          </a:xfrm>
          <a:custGeom>
            <a:avLst/>
            <a:gdLst>
              <a:gd name="T0" fmla="*/ 0 w 359"/>
              <a:gd name="T1" fmla="*/ 2147483647 h 391"/>
              <a:gd name="T2" fmla="*/ 2147483647 w 359"/>
              <a:gd name="T3" fmla="*/ 2147483647 h 391"/>
              <a:gd name="T4" fmla="*/ 2147483647 w 359"/>
              <a:gd name="T5" fmla="*/ 2147483647 h 391"/>
              <a:gd name="T6" fmla="*/ 2147483647 w 359"/>
              <a:gd name="T7" fmla="*/ 2147483647 h 391"/>
              <a:gd name="T8" fmla="*/ 2147483647 w 359"/>
              <a:gd name="T9" fmla="*/ 2147483647 h 391"/>
              <a:gd name="T10" fmla="*/ 2147483647 w 359"/>
              <a:gd name="T11" fmla="*/ 2147483647 h 391"/>
              <a:gd name="T12" fmla="*/ 2147483647 w 359"/>
              <a:gd name="T13" fmla="*/ 2147483647 h 391"/>
              <a:gd name="T14" fmla="*/ 2147483647 w 359"/>
              <a:gd name="T15" fmla="*/ 2147483647 h 391"/>
              <a:gd name="T16" fmla="*/ 2147483647 w 359"/>
              <a:gd name="T17" fmla="*/ 2147483647 h 391"/>
              <a:gd name="T18" fmla="*/ 2147483647 w 359"/>
              <a:gd name="T19" fmla="*/ 2147483647 h 391"/>
              <a:gd name="T20" fmla="*/ 2147483647 w 359"/>
              <a:gd name="T21" fmla="*/ 2147483647 h 391"/>
              <a:gd name="T22" fmla="*/ 2147483647 w 359"/>
              <a:gd name="T23" fmla="*/ 2147483647 h 391"/>
              <a:gd name="T24" fmla="*/ 2147483647 w 359"/>
              <a:gd name="T25" fmla="*/ 2147483647 h 391"/>
              <a:gd name="T26" fmla="*/ 2147483647 w 359"/>
              <a:gd name="T27" fmla="*/ 2147483647 h 391"/>
              <a:gd name="T28" fmla="*/ 2147483647 w 359"/>
              <a:gd name="T29" fmla="*/ 2147483647 h 391"/>
              <a:gd name="T30" fmla="*/ 2147483647 w 359"/>
              <a:gd name="T31" fmla="*/ 0 h 391"/>
              <a:gd name="T32" fmla="*/ 2147483647 w 359"/>
              <a:gd name="T33" fmla="*/ 2147483647 h 391"/>
              <a:gd name="T34" fmla="*/ 2147483647 w 359"/>
              <a:gd name="T35" fmla="*/ 2147483647 h 391"/>
              <a:gd name="T36" fmla="*/ 2147483647 w 359"/>
              <a:gd name="T37" fmla="*/ 2147483647 h 391"/>
              <a:gd name="T38" fmla="*/ 2147483647 w 359"/>
              <a:gd name="T39" fmla="*/ 2147483647 h 391"/>
              <a:gd name="T40" fmla="*/ 2147483647 w 359"/>
              <a:gd name="T41" fmla="*/ 2147483647 h 391"/>
              <a:gd name="T42" fmla="*/ 0 w 359"/>
              <a:gd name="T43" fmla="*/ 2147483647 h 391"/>
              <a:gd name="T44" fmla="*/ 0 w 359"/>
              <a:gd name="T45" fmla="*/ 2147483647 h 391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w 359"/>
              <a:gd name="T70" fmla="*/ 0 h 391"/>
              <a:gd name="T71" fmla="*/ 359 w 359"/>
              <a:gd name="T72" fmla="*/ 391 h 391"/>
            </a:gdLst>
            <a:ahLst/>
            <a:cxnLst>
              <a:cxn ang="T46">
                <a:pos x="T0" y="T1"/>
              </a:cxn>
              <a:cxn ang="T47">
                <a:pos x="T2" y="T3"/>
              </a:cxn>
              <a:cxn ang="T48">
                <a:pos x="T4" y="T5"/>
              </a:cxn>
              <a:cxn ang="T49">
                <a:pos x="T6" y="T7"/>
              </a:cxn>
              <a:cxn ang="T50">
                <a:pos x="T8" y="T9"/>
              </a:cxn>
              <a:cxn ang="T51">
                <a:pos x="T10" y="T11"/>
              </a:cxn>
              <a:cxn ang="T52">
                <a:pos x="T12" y="T13"/>
              </a:cxn>
              <a:cxn ang="T53">
                <a:pos x="T14" y="T15"/>
              </a:cxn>
              <a:cxn ang="T54">
                <a:pos x="T16" y="T17"/>
              </a:cxn>
              <a:cxn ang="T55">
                <a:pos x="T18" y="T19"/>
              </a:cxn>
              <a:cxn ang="T56">
                <a:pos x="T20" y="T21"/>
              </a:cxn>
              <a:cxn ang="T57">
                <a:pos x="T22" y="T23"/>
              </a:cxn>
              <a:cxn ang="T58">
                <a:pos x="T24" y="T25"/>
              </a:cxn>
              <a:cxn ang="T59">
                <a:pos x="T26" y="T27"/>
              </a:cxn>
              <a:cxn ang="T60">
                <a:pos x="T28" y="T29"/>
              </a:cxn>
              <a:cxn ang="T61">
                <a:pos x="T30" y="T31"/>
              </a:cxn>
              <a:cxn ang="T62">
                <a:pos x="T32" y="T33"/>
              </a:cxn>
              <a:cxn ang="T63">
                <a:pos x="T34" y="T35"/>
              </a:cxn>
              <a:cxn ang="T64">
                <a:pos x="T36" y="T37"/>
              </a:cxn>
              <a:cxn ang="T65">
                <a:pos x="T38" y="T39"/>
              </a:cxn>
              <a:cxn ang="T66">
                <a:pos x="T40" y="T41"/>
              </a:cxn>
              <a:cxn ang="T67">
                <a:pos x="T42" y="T43"/>
              </a:cxn>
              <a:cxn ang="T68">
                <a:pos x="T44" y="T45"/>
              </a:cxn>
            </a:cxnLst>
            <a:rect l="T69" t="T70" r="T71" b="T72"/>
            <a:pathLst>
              <a:path w="359" h="391">
                <a:moveTo>
                  <a:pt x="0" y="71"/>
                </a:moveTo>
                <a:lnTo>
                  <a:pt x="30" y="342"/>
                </a:lnTo>
                <a:lnTo>
                  <a:pt x="75" y="347"/>
                </a:lnTo>
                <a:lnTo>
                  <a:pt x="128" y="378"/>
                </a:lnTo>
                <a:lnTo>
                  <a:pt x="167" y="376"/>
                </a:lnTo>
                <a:lnTo>
                  <a:pt x="185" y="364"/>
                </a:lnTo>
                <a:lnTo>
                  <a:pt x="228" y="391"/>
                </a:lnTo>
                <a:lnTo>
                  <a:pt x="253" y="369"/>
                </a:lnTo>
                <a:lnTo>
                  <a:pt x="259" y="326"/>
                </a:lnTo>
                <a:lnTo>
                  <a:pt x="275" y="335"/>
                </a:lnTo>
                <a:lnTo>
                  <a:pt x="284" y="300"/>
                </a:lnTo>
                <a:lnTo>
                  <a:pt x="344" y="248"/>
                </a:lnTo>
                <a:lnTo>
                  <a:pt x="354" y="164"/>
                </a:lnTo>
                <a:lnTo>
                  <a:pt x="347" y="146"/>
                </a:lnTo>
                <a:lnTo>
                  <a:pt x="359" y="137"/>
                </a:lnTo>
                <a:lnTo>
                  <a:pt x="336" y="0"/>
                </a:lnTo>
                <a:lnTo>
                  <a:pt x="275" y="31"/>
                </a:lnTo>
                <a:lnTo>
                  <a:pt x="244" y="64"/>
                </a:lnTo>
                <a:lnTo>
                  <a:pt x="222" y="65"/>
                </a:lnTo>
                <a:lnTo>
                  <a:pt x="188" y="83"/>
                </a:lnTo>
                <a:lnTo>
                  <a:pt x="109" y="56"/>
                </a:lnTo>
                <a:lnTo>
                  <a:pt x="0" y="71"/>
                </a:lnTo>
                <a:close/>
              </a:path>
            </a:pathLst>
          </a:custGeom>
          <a:solidFill>
            <a:srgbClr val="CC99FF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197" name="Freeform 69">
            <a:hlinkClick r:id="rId11"/>
          </p:cNvPr>
          <p:cNvSpPr>
            <a:spLocks/>
          </p:cNvSpPr>
          <p:nvPr/>
        </p:nvSpPr>
        <p:spPr bwMode="auto">
          <a:xfrm>
            <a:off x="5714548" y="3123203"/>
            <a:ext cx="403225" cy="402432"/>
          </a:xfrm>
          <a:custGeom>
            <a:avLst/>
            <a:gdLst>
              <a:gd name="T0" fmla="*/ 2147483647 w 265"/>
              <a:gd name="T1" fmla="*/ 2147483647 h 440"/>
              <a:gd name="T2" fmla="*/ 2147483647 w 265"/>
              <a:gd name="T3" fmla="*/ 2147483647 h 440"/>
              <a:gd name="T4" fmla="*/ 2147483647 w 265"/>
              <a:gd name="T5" fmla="*/ 2147483647 h 440"/>
              <a:gd name="T6" fmla="*/ 2147483647 w 265"/>
              <a:gd name="T7" fmla="*/ 2147483647 h 440"/>
              <a:gd name="T8" fmla="*/ 2147483647 w 265"/>
              <a:gd name="T9" fmla="*/ 2147483647 h 440"/>
              <a:gd name="T10" fmla="*/ 2147483647 w 265"/>
              <a:gd name="T11" fmla="*/ 2147483647 h 440"/>
              <a:gd name="T12" fmla="*/ 2147483647 w 265"/>
              <a:gd name="T13" fmla="*/ 2147483647 h 440"/>
              <a:gd name="T14" fmla="*/ 2147483647 w 265"/>
              <a:gd name="T15" fmla="*/ 2147483647 h 440"/>
              <a:gd name="T16" fmla="*/ 2147483647 w 265"/>
              <a:gd name="T17" fmla="*/ 2147483647 h 440"/>
              <a:gd name="T18" fmla="*/ 2147483647 w 265"/>
              <a:gd name="T19" fmla="*/ 2147483647 h 440"/>
              <a:gd name="T20" fmla="*/ 2147483647 w 265"/>
              <a:gd name="T21" fmla="*/ 2147483647 h 440"/>
              <a:gd name="T22" fmla="*/ 2147483647 w 265"/>
              <a:gd name="T23" fmla="*/ 2147483647 h 440"/>
              <a:gd name="T24" fmla="*/ 2147483647 w 265"/>
              <a:gd name="T25" fmla="*/ 0 h 440"/>
              <a:gd name="T26" fmla="*/ 2147483647 w 265"/>
              <a:gd name="T27" fmla="*/ 2147483647 h 440"/>
              <a:gd name="T28" fmla="*/ 2147483647 w 265"/>
              <a:gd name="T29" fmla="*/ 2147483647 h 440"/>
              <a:gd name="T30" fmla="*/ 2147483647 w 265"/>
              <a:gd name="T31" fmla="*/ 2147483647 h 440"/>
              <a:gd name="T32" fmla="*/ 2147483647 w 265"/>
              <a:gd name="T33" fmla="*/ 2147483647 h 440"/>
              <a:gd name="T34" fmla="*/ 2147483647 w 265"/>
              <a:gd name="T35" fmla="*/ 2147483647 h 440"/>
              <a:gd name="T36" fmla="*/ 2147483647 w 265"/>
              <a:gd name="T37" fmla="*/ 2147483647 h 440"/>
              <a:gd name="T38" fmla="*/ 2147483647 w 265"/>
              <a:gd name="T39" fmla="*/ 2147483647 h 440"/>
              <a:gd name="T40" fmla="*/ 2147483647 w 265"/>
              <a:gd name="T41" fmla="*/ 2147483647 h 440"/>
              <a:gd name="T42" fmla="*/ 0 w 265"/>
              <a:gd name="T43" fmla="*/ 2147483647 h 440"/>
              <a:gd name="T44" fmla="*/ 2147483647 w 265"/>
              <a:gd name="T45" fmla="*/ 2147483647 h 440"/>
              <a:gd name="T46" fmla="*/ 2147483647 w 265"/>
              <a:gd name="T47" fmla="*/ 2147483647 h 440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w 265"/>
              <a:gd name="T73" fmla="*/ 0 h 440"/>
              <a:gd name="T74" fmla="*/ 265 w 265"/>
              <a:gd name="T75" fmla="*/ 440 h 440"/>
            </a:gdLst>
            <a:ahLst/>
            <a:cxnLst>
              <a:cxn ang="T48">
                <a:pos x="T0" y="T1"/>
              </a:cxn>
              <a:cxn ang="T49">
                <a:pos x="T2" y="T3"/>
              </a:cxn>
              <a:cxn ang="T50">
                <a:pos x="T4" y="T5"/>
              </a:cxn>
              <a:cxn ang="T51">
                <a:pos x="T6" y="T7"/>
              </a:cxn>
              <a:cxn ang="T52">
                <a:pos x="T8" y="T9"/>
              </a:cxn>
              <a:cxn ang="T53">
                <a:pos x="T10" y="T11"/>
              </a:cxn>
              <a:cxn ang="T54">
                <a:pos x="T12" y="T13"/>
              </a:cxn>
              <a:cxn ang="T55">
                <a:pos x="T14" y="T15"/>
              </a:cxn>
              <a:cxn ang="T56">
                <a:pos x="T16" y="T17"/>
              </a:cxn>
              <a:cxn ang="T57">
                <a:pos x="T18" y="T19"/>
              </a:cxn>
              <a:cxn ang="T58">
                <a:pos x="T20" y="T21"/>
              </a:cxn>
              <a:cxn ang="T59">
                <a:pos x="T22" y="T23"/>
              </a:cxn>
              <a:cxn ang="T60">
                <a:pos x="T24" y="T25"/>
              </a:cxn>
              <a:cxn ang="T61">
                <a:pos x="T26" y="T27"/>
              </a:cxn>
              <a:cxn ang="T62">
                <a:pos x="T28" y="T29"/>
              </a:cxn>
              <a:cxn ang="T63">
                <a:pos x="T30" y="T31"/>
              </a:cxn>
              <a:cxn ang="T64">
                <a:pos x="T32" y="T33"/>
              </a:cxn>
              <a:cxn ang="T65">
                <a:pos x="T34" y="T35"/>
              </a:cxn>
              <a:cxn ang="T66">
                <a:pos x="T36" y="T37"/>
              </a:cxn>
              <a:cxn ang="T67">
                <a:pos x="T38" y="T39"/>
              </a:cxn>
              <a:cxn ang="T68">
                <a:pos x="T40" y="T41"/>
              </a:cxn>
              <a:cxn ang="T69">
                <a:pos x="T42" y="T43"/>
              </a:cxn>
              <a:cxn ang="T70">
                <a:pos x="T44" y="T45"/>
              </a:cxn>
              <a:cxn ang="T71">
                <a:pos x="T46" y="T47"/>
              </a:cxn>
            </a:cxnLst>
            <a:rect l="T72" t="T73" r="T74" b="T75"/>
            <a:pathLst>
              <a:path w="265" h="440">
                <a:moveTo>
                  <a:pt x="9" y="440"/>
                </a:moveTo>
                <a:lnTo>
                  <a:pt x="17" y="426"/>
                </a:lnTo>
                <a:lnTo>
                  <a:pt x="67" y="423"/>
                </a:lnTo>
                <a:lnTo>
                  <a:pt x="109" y="410"/>
                </a:lnTo>
                <a:lnTo>
                  <a:pt x="150" y="385"/>
                </a:lnTo>
                <a:lnTo>
                  <a:pt x="184" y="383"/>
                </a:lnTo>
                <a:lnTo>
                  <a:pt x="223" y="320"/>
                </a:lnTo>
                <a:lnTo>
                  <a:pt x="235" y="325"/>
                </a:lnTo>
                <a:lnTo>
                  <a:pt x="265" y="302"/>
                </a:lnTo>
                <a:lnTo>
                  <a:pt x="257" y="286"/>
                </a:lnTo>
                <a:lnTo>
                  <a:pt x="260" y="277"/>
                </a:lnTo>
                <a:lnTo>
                  <a:pt x="230" y="6"/>
                </a:lnTo>
                <a:lnTo>
                  <a:pt x="227" y="0"/>
                </a:lnTo>
                <a:lnTo>
                  <a:pt x="70" y="18"/>
                </a:lnTo>
                <a:lnTo>
                  <a:pt x="40" y="33"/>
                </a:lnTo>
                <a:lnTo>
                  <a:pt x="14" y="25"/>
                </a:lnTo>
                <a:lnTo>
                  <a:pt x="33" y="248"/>
                </a:lnTo>
                <a:lnTo>
                  <a:pt x="28" y="294"/>
                </a:lnTo>
                <a:lnTo>
                  <a:pt x="40" y="320"/>
                </a:lnTo>
                <a:lnTo>
                  <a:pt x="27" y="370"/>
                </a:lnTo>
                <a:lnTo>
                  <a:pt x="9" y="392"/>
                </a:lnTo>
                <a:lnTo>
                  <a:pt x="0" y="429"/>
                </a:lnTo>
                <a:lnTo>
                  <a:pt x="9" y="440"/>
                </a:lnTo>
                <a:close/>
              </a:path>
            </a:pathLst>
          </a:custGeom>
          <a:solidFill>
            <a:srgbClr val="FAA4E3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890987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dirty="0" smtClean="0"/>
              <a:t>Summary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z="2000" dirty="0"/>
              <a:t>The way the world does business is constantly changing — taxpayers are changing and to keep pace LB&amp;I must continuously evolve. </a:t>
            </a:r>
          </a:p>
          <a:p>
            <a:pPr lvl="0"/>
            <a:r>
              <a:rPr lang="en-US" sz="2000" dirty="0"/>
              <a:t>We will use data and analysis combined with input from the people who know the work best, our experienced examiners, to determine the selection of better work (building campaigns).</a:t>
            </a:r>
          </a:p>
          <a:p>
            <a:pPr lvl="0"/>
            <a:r>
              <a:rPr lang="en-US" sz="2000" dirty="0"/>
              <a:t>We will consider multiple compliance approaches (treatment streams) for campaigns so that we focus our limited and valuable resources in the right areas that drive a specific compliance impact.</a:t>
            </a:r>
          </a:p>
          <a:p>
            <a:pPr lvl="0"/>
            <a:r>
              <a:rPr lang="en-US" sz="2000" dirty="0"/>
              <a:t>We are committed to ensure that we have a </a:t>
            </a:r>
            <a:r>
              <a:rPr lang="en-US" sz="2000" dirty="0" smtClean="0"/>
              <a:t>well-trained </a:t>
            </a:r>
            <a:r>
              <a:rPr lang="en-US" sz="2000" dirty="0"/>
              <a:t>workforce that is equipped to deal with the complex global tax challenges we face on a daily basis.</a:t>
            </a:r>
          </a:p>
          <a:p>
            <a:endParaRPr lang="en-US" sz="2000" dirty="0" smtClean="0"/>
          </a:p>
          <a:p>
            <a:pPr lvl="1"/>
            <a:endParaRPr lang="en-US" sz="2000" dirty="0"/>
          </a:p>
        </p:txBody>
      </p:sp>
    </p:spTree>
    <p:extLst>
      <p:ext uri="{BB962C8B-B14F-4D97-AF65-F5344CB8AC3E}">
        <p14:creationId xmlns:p14="http://schemas.microsoft.com/office/powerpoint/2010/main" val="275584084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sz="4000" dirty="0" smtClean="0"/>
              <a:t>Why does LB&amp;I need to change?</a:t>
            </a:r>
            <a:endParaRPr lang="en-US" sz="400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07773" y="1359243"/>
            <a:ext cx="8427308" cy="5320467"/>
          </a:xfrm>
        </p:spPr>
        <p:txBody>
          <a:bodyPr/>
          <a:lstStyle/>
          <a:p>
            <a:pPr>
              <a:spcAft>
                <a:spcPts val="600"/>
              </a:spcAft>
            </a:pPr>
            <a:r>
              <a:rPr lang="en-US" sz="1800" dirty="0" smtClean="0"/>
              <a:t>LB&amp;I needs to change in order to create an organization that:</a:t>
            </a:r>
          </a:p>
          <a:p>
            <a:pPr lvl="1">
              <a:spcBef>
                <a:spcPts val="600"/>
              </a:spcBef>
            </a:pPr>
            <a:r>
              <a:rPr lang="en-US" sz="1800" dirty="0"/>
              <a:t>C</a:t>
            </a:r>
            <a:r>
              <a:rPr lang="en-US" sz="1800" dirty="0" smtClean="0"/>
              <a:t>ontinuously evolves to keep pace with the </a:t>
            </a:r>
            <a:r>
              <a:rPr lang="en-US" sz="1800" dirty="0"/>
              <a:t>way the world does business </a:t>
            </a:r>
            <a:r>
              <a:rPr lang="en-US" sz="1800" dirty="0" smtClean="0"/>
              <a:t>and with our taxpayers. </a:t>
            </a:r>
          </a:p>
          <a:p>
            <a:pPr lvl="1">
              <a:spcBef>
                <a:spcPts val="600"/>
              </a:spcBef>
            </a:pPr>
            <a:r>
              <a:rPr lang="en-US" sz="1800" dirty="0" smtClean="0"/>
              <a:t>Uses </a:t>
            </a:r>
            <a:r>
              <a:rPr lang="en-US" sz="1800" dirty="0"/>
              <a:t>our most valuable resource, our employees’ time, to achieve pre-determined compliance goals</a:t>
            </a:r>
            <a:r>
              <a:rPr lang="en-US" sz="1800" dirty="0" smtClean="0"/>
              <a:t>.</a:t>
            </a:r>
          </a:p>
          <a:p>
            <a:pPr lvl="1">
              <a:spcBef>
                <a:spcPts val="600"/>
              </a:spcBef>
              <a:spcAft>
                <a:spcPts val="200"/>
              </a:spcAft>
            </a:pPr>
            <a:r>
              <a:rPr lang="en-US" sz="1800" dirty="0" smtClean="0"/>
              <a:t>Reflects one LB&amp;I, instead of: </a:t>
            </a:r>
          </a:p>
          <a:p>
            <a:pPr lvl="2">
              <a:spcBef>
                <a:spcPts val="0"/>
              </a:spcBef>
              <a:spcAft>
                <a:spcPts val="300"/>
              </a:spcAft>
            </a:pPr>
            <a:r>
              <a:rPr lang="en-US" sz="1800" dirty="0" smtClean="0"/>
              <a:t>International vs. Domestic</a:t>
            </a:r>
          </a:p>
          <a:p>
            <a:pPr lvl="2">
              <a:spcBef>
                <a:spcPts val="0"/>
              </a:spcBef>
              <a:spcAft>
                <a:spcPts val="300"/>
              </a:spcAft>
            </a:pPr>
            <a:r>
              <a:rPr lang="en-US" sz="1800" dirty="0" smtClean="0"/>
              <a:t>Field vs. Headquarters</a:t>
            </a:r>
          </a:p>
          <a:p>
            <a:pPr lvl="2">
              <a:spcBef>
                <a:spcPts val="0"/>
              </a:spcBef>
            </a:pPr>
            <a:r>
              <a:rPr lang="en-US" sz="1800" dirty="0" smtClean="0"/>
              <a:t>Strategy vs. Execution</a:t>
            </a:r>
          </a:p>
          <a:p>
            <a:pPr lvl="1"/>
            <a:r>
              <a:rPr lang="en-US" sz="1800" dirty="0"/>
              <a:t>Supports promotional </a:t>
            </a:r>
            <a:r>
              <a:rPr lang="en-US" sz="1800" dirty="0" smtClean="0"/>
              <a:t>opportunities in all areas of LB&amp;I based </a:t>
            </a:r>
            <a:r>
              <a:rPr lang="en-US" sz="1800" dirty="0"/>
              <a:t>on knowledge, </a:t>
            </a:r>
            <a:r>
              <a:rPr lang="en-US" sz="1800" dirty="0" smtClean="0"/>
              <a:t>skills, </a:t>
            </a:r>
            <a:r>
              <a:rPr lang="en-US" sz="1800" dirty="0"/>
              <a:t>and abilities of employees and their willingness to </a:t>
            </a:r>
            <a:r>
              <a:rPr lang="en-US" sz="1800" dirty="0" smtClean="0"/>
              <a:t>coach, mentor, and transfer skills.    </a:t>
            </a:r>
          </a:p>
          <a:p>
            <a:pPr lvl="1"/>
            <a:r>
              <a:rPr lang="en-US" sz="1800" dirty="0" smtClean="0"/>
              <a:t>Supports better collaboration. </a:t>
            </a:r>
          </a:p>
          <a:p>
            <a:pPr lvl="1"/>
            <a:r>
              <a:rPr lang="en-US" sz="1800" dirty="0" smtClean="0"/>
              <a:t>Engages </a:t>
            </a:r>
            <a:r>
              <a:rPr lang="en-US" sz="1800" dirty="0"/>
              <a:t>in effective tax administration by updating exam processes that have not been refreshed for many </a:t>
            </a:r>
            <a:r>
              <a:rPr lang="en-US" sz="1800" dirty="0" smtClean="0"/>
              <a:t>years.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75DD1966-0BBC-40BC-8718-AB09896539C5}" type="slidenum">
              <a:rPr lang="en-US" altLang="en-US" smtClean="0"/>
              <a:pPr>
                <a:defRPr/>
              </a:pPr>
              <a:t>2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34080126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/>
          <p:cNvGrpSpPr/>
          <p:nvPr/>
        </p:nvGrpSpPr>
        <p:grpSpPr>
          <a:xfrm>
            <a:off x="423863" y="2663825"/>
            <a:ext cx="8302625" cy="914400"/>
            <a:chOff x="423863" y="2663825"/>
            <a:chExt cx="8302625" cy="914400"/>
          </a:xfrm>
        </p:grpSpPr>
        <p:sp>
          <p:nvSpPr>
            <p:cNvPr id="19458" name="TextBox 22"/>
            <p:cNvSpPr txBox="1">
              <a:spLocks noChangeArrowheads="1"/>
            </p:cNvSpPr>
            <p:nvPr/>
          </p:nvSpPr>
          <p:spPr bwMode="auto">
            <a:xfrm>
              <a:off x="2728913" y="2674938"/>
              <a:ext cx="5997575" cy="6794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marL="1588" eaLnBrk="0" hangingPunct="0">
                <a:spcBef>
                  <a:spcPct val="20000"/>
                </a:spcBef>
                <a:buClr>
                  <a:schemeClr val="accent2"/>
                </a:buClr>
                <a:buFont typeface="Wingdings" pitchFamily="2" charset="2"/>
                <a:buChar char="v"/>
                <a:defRPr sz="28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spcBef>
                  <a:spcPct val="20000"/>
                </a:spcBef>
                <a:buClr>
                  <a:schemeClr val="accent2"/>
                </a:buClr>
                <a:buFont typeface="Wingdings" pitchFamily="2" charset="2"/>
                <a:buChar char="§"/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spcBef>
                  <a:spcPct val="20000"/>
                </a:spcBef>
                <a:buClr>
                  <a:schemeClr val="accent2"/>
                </a:buClr>
                <a:buChar char="•"/>
                <a:defRPr sz="20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spcBef>
                  <a:spcPct val="20000"/>
                </a:spcBef>
                <a:buChar char="–"/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spcBef>
                  <a:spcPct val="20000"/>
                </a:spcBef>
                <a:buChar char="»"/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defTabSz="4572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defTabSz="4572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defTabSz="4572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defTabSz="4572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lnSpc>
                  <a:spcPct val="106000"/>
                </a:lnSpc>
                <a:spcBef>
                  <a:spcPct val="0"/>
                </a:spcBef>
                <a:buClr>
                  <a:srgbClr val="000000"/>
                </a:buClr>
                <a:buFont typeface="Wingdings" pitchFamily="2" charset="2"/>
                <a:buNone/>
              </a:pPr>
              <a:r>
                <a:rPr lang="en-US" altLang="en-US" sz="1800" dirty="0"/>
                <a:t>Utilize data analytics and examiner feedback to select better work with intended compliance outcomes</a:t>
              </a:r>
            </a:p>
          </p:txBody>
        </p:sp>
        <p:sp>
          <p:nvSpPr>
            <p:cNvPr id="61" name="Rounded Rectangle 60"/>
            <p:cNvSpPr/>
            <p:nvPr/>
          </p:nvSpPr>
          <p:spPr bwMode="auto">
            <a:xfrm>
              <a:off x="423863" y="2663825"/>
              <a:ext cx="2185987" cy="914400"/>
            </a:xfrm>
            <a:prstGeom prst="roundRect">
              <a:avLst>
                <a:gd name="adj" fmla="val 5828"/>
              </a:avLst>
            </a:prstGeom>
            <a:solidFill>
              <a:schemeClr val="accent2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anchor="ctr"/>
            <a:lstStyle/>
            <a:p>
              <a:pPr>
                <a:defRPr/>
              </a:pPr>
              <a:r>
                <a:rPr lang="en-US" b="1" kern="0" dirty="0">
                  <a:solidFill>
                    <a:schemeClr val="bg1"/>
                  </a:solidFill>
                  <a:ea typeface="ＭＳ Ｐゴシック" charset="-128"/>
                  <a:cs typeface="Arial" charset="0"/>
                </a:rPr>
                <a:t>Selection of Better Work</a:t>
              </a:r>
            </a:p>
          </p:txBody>
        </p:sp>
      </p:grpSp>
      <p:sp>
        <p:nvSpPr>
          <p:cNvPr id="19460" name="Title 1"/>
          <p:cNvSpPr>
            <a:spLocks noGrp="1"/>
          </p:cNvSpPr>
          <p:nvPr>
            <p:ph type="title"/>
          </p:nvPr>
        </p:nvSpPr>
        <p:spPr>
          <a:xfrm>
            <a:off x="400050" y="293688"/>
            <a:ext cx="8202613" cy="479425"/>
          </a:xfrm>
        </p:spPr>
        <p:txBody>
          <a:bodyPr/>
          <a:lstStyle/>
          <a:p>
            <a:pPr algn="l" eaLnBrk="1" hangingPunct="1"/>
            <a:r>
              <a:rPr lang="en-US" altLang="en-US" sz="2000" b="1" dirty="0" smtClean="0"/>
              <a:t/>
            </a:r>
            <a:br>
              <a:rPr lang="en-US" altLang="en-US" sz="2000" b="1" dirty="0" smtClean="0"/>
            </a:br>
            <a:r>
              <a:rPr lang="en-US" altLang="en-US" sz="2000" b="1" dirty="0" smtClean="0"/>
              <a:t>A core set of guiding principles establishes the foundation for where LB&amp;I wants to be in the future.</a:t>
            </a:r>
          </a:p>
        </p:txBody>
      </p:sp>
      <p:grpSp>
        <p:nvGrpSpPr>
          <p:cNvPr id="2" name="Group 1"/>
          <p:cNvGrpSpPr/>
          <p:nvPr/>
        </p:nvGrpSpPr>
        <p:grpSpPr>
          <a:xfrm>
            <a:off x="423863" y="1347788"/>
            <a:ext cx="8464550" cy="973137"/>
            <a:chOff x="423863" y="1347788"/>
            <a:chExt cx="8464550" cy="973137"/>
          </a:xfrm>
        </p:grpSpPr>
        <p:sp>
          <p:nvSpPr>
            <p:cNvPr id="19461" name="TextBox 19"/>
            <p:cNvSpPr txBox="1">
              <a:spLocks noChangeArrowheads="1"/>
            </p:cNvSpPr>
            <p:nvPr/>
          </p:nvSpPr>
          <p:spPr bwMode="auto">
            <a:xfrm>
              <a:off x="2763838" y="1347788"/>
              <a:ext cx="6124575" cy="97313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marL="1588" eaLnBrk="0" hangingPunct="0">
                <a:spcBef>
                  <a:spcPct val="20000"/>
                </a:spcBef>
                <a:buClr>
                  <a:schemeClr val="accent2"/>
                </a:buClr>
                <a:buFont typeface="Wingdings" pitchFamily="2" charset="2"/>
                <a:buChar char="v"/>
                <a:defRPr sz="28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spcBef>
                  <a:spcPct val="20000"/>
                </a:spcBef>
                <a:buClr>
                  <a:schemeClr val="accent2"/>
                </a:buClr>
                <a:buFont typeface="Wingdings" pitchFamily="2" charset="2"/>
                <a:buChar char="§"/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spcBef>
                  <a:spcPct val="20000"/>
                </a:spcBef>
                <a:buClr>
                  <a:schemeClr val="accent2"/>
                </a:buClr>
                <a:buChar char="•"/>
                <a:defRPr sz="20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spcBef>
                  <a:spcPct val="20000"/>
                </a:spcBef>
                <a:buChar char="–"/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spcBef>
                  <a:spcPct val="20000"/>
                </a:spcBef>
                <a:buChar char="»"/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defTabSz="4572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defTabSz="4572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defTabSz="4572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defTabSz="4572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lnSpc>
                  <a:spcPct val="106000"/>
                </a:lnSpc>
                <a:spcBef>
                  <a:spcPct val="0"/>
                </a:spcBef>
                <a:buClr>
                  <a:srgbClr val="000000"/>
                </a:buClr>
                <a:buFont typeface="Wingdings" pitchFamily="2" charset="2"/>
                <a:buNone/>
              </a:pPr>
              <a:r>
                <a:rPr lang="en-US" altLang="en-US" sz="1800" dirty="0">
                  <a:solidFill>
                    <a:srgbClr val="000000"/>
                  </a:solidFill>
                </a:rPr>
                <a:t>Cultivate an environment of continuous learning to support a flexible workforce with </a:t>
              </a:r>
              <a:r>
                <a:rPr lang="en-US" altLang="en-US" sz="1800" dirty="0" smtClean="0">
                  <a:solidFill>
                    <a:srgbClr val="000000"/>
                  </a:solidFill>
                </a:rPr>
                <a:t>focused </a:t>
              </a:r>
              <a:r>
                <a:rPr lang="en-US" altLang="en-US" sz="1800" dirty="0">
                  <a:solidFill>
                    <a:srgbClr val="000000"/>
                  </a:solidFill>
                </a:rPr>
                <a:t>training, foundational skillsets, specialized knowledge, and dynamic tools</a:t>
              </a:r>
            </a:p>
          </p:txBody>
        </p:sp>
        <p:sp>
          <p:nvSpPr>
            <p:cNvPr id="58" name="Rounded Rectangle 57"/>
            <p:cNvSpPr/>
            <p:nvPr/>
          </p:nvSpPr>
          <p:spPr bwMode="auto">
            <a:xfrm>
              <a:off x="423863" y="1347788"/>
              <a:ext cx="2185987" cy="914400"/>
            </a:xfrm>
            <a:prstGeom prst="roundRect">
              <a:avLst>
                <a:gd name="adj" fmla="val 5828"/>
              </a:avLst>
            </a:prstGeom>
            <a:solidFill>
              <a:schemeClr val="accent4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anchor="ctr"/>
            <a:lstStyle/>
            <a:p>
              <a:pPr>
                <a:defRPr/>
              </a:pPr>
              <a:r>
                <a:rPr lang="en-US" b="1" kern="0" dirty="0">
                  <a:solidFill>
                    <a:srgbClr val="FFFFFF"/>
                  </a:solidFill>
                  <a:ea typeface="ＭＳ Ｐゴシック" charset="-128"/>
                  <a:cs typeface="Arial" charset="0"/>
                </a:rPr>
                <a:t>Flexible, Well-Trained </a:t>
              </a:r>
            </a:p>
            <a:p>
              <a:pPr>
                <a:defRPr/>
              </a:pPr>
              <a:r>
                <a:rPr lang="en-US" b="1" kern="0" dirty="0">
                  <a:solidFill>
                    <a:srgbClr val="FFFFFF"/>
                  </a:solidFill>
                  <a:ea typeface="ＭＳ Ｐゴシック" charset="-128"/>
                  <a:cs typeface="Arial" charset="0"/>
                </a:rPr>
                <a:t>Workforce</a:t>
              </a:r>
            </a:p>
          </p:txBody>
        </p:sp>
      </p:grpSp>
      <p:sp>
        <p:nvSpPr>
          <p:cNvPr id="59" name="Rounded Rectangle 58"/>
          <p:cNvSpPr/>
          <p:nvPr/>
        </p:nvSpPr>
        <p:spPr bwMode="auto">
          <a:xfrm>
            <a:off x="423863" y="5292725"/>
            <a:ext cx="2185987" cy="914400"/>
          </a:xfrm>
          <a:prstGeom prst="roundRect">
            <a:avLst>
              <a:gd name="adj" fmla="val 5828"/>
            </a:avLst>
          </a:prstGeom>
          <a:solidFill>
            <a:schemeClr val="accent3"/>
          </a:solidFill>
          <a:ln w="9525">
            <a:noFill/>
            <a:miter lim="800000"/>
            <a:headEnd/>
            <a:tailEnd/>
          </a:ln>
          <a:effectLst/>
        </p:spPr>
        <p:txBody>
          <a:bodyPr anchor="ctr"/>
          <a:lstStyle/>
          <a:p>
            <a:pPr>
              <a:defRPr/>
            </a:pPr>
            <a:r>
              <a:rPr lang="en-US" sz="1400" b="1" kern="0" dirty="0">
                <a:solidFill>
                  <a:srgbClr val="FFFFFF"/>
                </a:solidFill>
                <a:ea typeface="ＭＳ Ｐゴシック" charset="-128"/>
                <a:cs typeface="Arial" charset="0"/>
              </a:rPr>
              <a:t>Integrated Feedback </a:t>
            </a:r>
          </a:p>
          <a:p>
            <a:pPr>
              <a:defRPr/>
            </a:pPr>
            <a:r>
              <a:rPr lang="en-US" sz="1400" b="1" kern="0" dirty="0">
                <a:solidFill>
                  <a:srgbClr val="FFFFFF"/>
                </a:solidFill>
                <a:ea typeface="ＭＳ Ｐゴシック" charset="-128"/>
                <a:cs typeface="Arial" charset="0"/>
              </a:rPr>
              <a:t>Loop</a:t>
            </a:r>
          </a:p>
        </p:txBody>
      </p:sp>
      <p:grpSp>
        <p:nvGrpSpPr>
          <p:cNvPr id="4" name="Group 3"/>
          <p:cNvGrpSpPr/>
          <p:nvPr/>
        </p:nvGrpSpPr>
        <p:grpSpPr>
          <a:xfrm>
            <a:off x="414338" y="4021138"/>
            <a:ext cx="8255000" cy="973137"/>
            <a:chOff x="414338" y="4021138"/>
            <a:chExt cx="8255000" cy="973137"/>
          </a:xfrm>
        </p:grpSpPr>
        <p:sp>
          <p:nvSpPr>
            <p:cNvPr id="19465" name="TextBox 21"/>
            <p:cNvSpPr txBox="1">
              <a:spLocks noChangeArrowheads="1"/>
            </p:cNvSpPr>
            <p:nvPr/>
          </p:nvSpPr>
          <p:spPr bwMode="auto">
            <a:xfrm>
              <a:off x="2782888" y="4021138"/>
              <a:ext cx="5886450" cy="97313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marL="1588" eaLnBrk="0" hangingPunct="0">
                <a:spcBef>
                  <a:spcPct val="20000"/>
                </a:spcBef>
                <a:buClr>
                  <a:schemeClr val="accent2"/>
                </a:buClr>
                <a:buFont typeface="Wingdings" pitchFamily="2" charset="2"/>
                <a:buChar char="v"/>
                <a:defRPr sz="28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spcBef>
                  <a:spcPct val="20000"/>
                </a:spcBef>
                <a:buClr>
                  <a:schemeClr val="accent2"/>
                </a:buClr>
                <a:buFont typeface="Wingdings" pitchFamily="2" charset="2"/>
                <a:buChar char="§"/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spcBef>
                  <a:spcPct val="20000"/>
                </a:spcBef>
                <a:buClr>
                  <a:schemeClr val="accent2"/>
                </a:buClr>
                <a:buChar char="•"/>
                <a:defRPr sz="20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spcBef>
                  <a:spcPct val="20000"/>
                </a:spcBef>
                <a:buChar char="–"/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spcBef>
                  <a:spcPct val="20000"/>
                </a:spcBef>
                <a:buChar char="»"/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defTabSz="4572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defTabSz="4572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defTabSz="4572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defTabSz="4572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lnSpc>
                  <a:spcPct val="106000"/>
                </a:lnSpc>
                <a:spcBef>
                  <a:spcPct val="0"/>
                </a:spcBef>
                <a:buClr>
                  <a:srgbClr val="000000"/>
                </a:buClr>
                <a:buFont typeface="Wingdings" pitchFamily="2" charset="2"/>
                <a:buNone/>
              </a:pPr>
              <a:r>
                <a:rPr lang="en-US" altLang="en-US" sz="1800" dirty="0">
                  <a:solidFill>
                    <a:srgbClr val="000000"/>
                  </a:solidFill>
                </a:rPr>
                <a:t>Employ an integrated set of tailored treatment streams to improve flexibility to address current and emerging issues and achieve compliance outcomes</a:t>
              </a:r>
            </a:p>
          </p:txBody>
        </p:sp>
        <p:sp>
          <p:nvSpPr>
            <p:cNvPr id="60" name="Rounded Rectangle 59"/>
            <p:cNvSpPr/>
            <p:nvPr/>
          </p:nvSpPr>
          <p:spPr bwMode="auto">
            <a:xfrm>
              <a:off x="414338" y="4032250"/>
              <a:ext cx="2185987" cy="914400"/>
            </a:xfrm>
            <a:prstGeom prst="roundRect">
              <a:avLst>
                <a:gd name="adj" fmla="val 5828"/>
              </a:avLst>
            </a:prstGeom>
            <a:solidFill>
              <a:schemeClr val="bg2">
                <a:lumMod val="75000"/>
              </a:schemeClr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anchor="ctr"/>
            <a:lstStyle/>
            <a:p>
              <a:pPr>
                <a:defRPr/>
              </a:pPr>
              <a:r>
                <a:rPr lang="en-US" b="1" kern="0" dirty="0">
                  <a:solidFill>
                    <a:schemeClr val="bg1"/>
                  </a:solidFill>
                  <a:ea typeface="ＭＳ Ｐゴシック" charset="-128"/>
                  <a:cs typeface="Arial" charset="0"/>
                </a:rPr>
                <a:t>Tailored Treatments</a:t>
              </a:r>
            </a:p>
          </p:txBody>
        </p:sp>
      </p:grpSp>
      <p:sp>
        <p:nvSpPr>
          <p:cNvPr id="19463" name="TextBox 23"/>
          <p:cNvSpPr txBox="1">
            <a:spLocks noChangeArrowheads="1"/>
          </p:cNvSpPr>
          <p:nvPr/>
        </p:nvSpPr>
        <p:spPr bwMode="auto">
          <a:xfrm>
            <a:off x="2782888" y="5157788"/>
            <a:ext cx="5997575" cy="1200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spcBef>
                <a:spcPct val="20000"/>
              </a:spcBef>
              <a:buClr>
                <a:schemeClr val="accent2"/>
              </a:buClr>
              <a:buFont typeface="Wingdings" pitchFamily="2" charset="2"/>
              <a:buChar char="v"/>
              <a:defRPr sz="28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20000"/>
              </a:spcBef>
              <a:buClr>
                <a:schemeClr val="accent2"/>
              </a:buClr>
              <a:buFont typeface="Wingdings" pitchFamily="2" charset="2"/>
              <a:buChar char="§"/>
              <a:defRPr sz="24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20000"/>
              </a:spcBef>
              <a:buClr>
                <a:schemeClr val="accent2"/>
              </a:buClr>
              <a:buChar char="•"/>
              <a:defRPr sz="20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0"/>
              </a:spcBef>
              <a:buClrTx/>
              <a:buFont typeface="Wingdings" pitchFamily="2" charset="2"/>
              <a:buNone/>
            </a:pPr>
            <a:r>
              <a:rPr lang="en-US" altLang="en-US" sz="1800" dirty="0">
                <a:solidFill>
                  <a:srgbClr val="000000"/>
                </a:solidFill>
              </a:rPr>
              <a:t>Drive continual collection and analysis of data and feedback to enhance ability to focus, plan, and execute work, and promote </a:t>
            </a:r>
            <a:r>
              <a:rPr lang="en-US" altLang="en-US" sz="1800" dirty="0"/>
              <a:t>innovation and feedback-based improvement</a:t>
            </a:r>
          </a:p>
        </p:txBody>
      </p:sp>
      <p:grpSp>
        <p:nvGrpSpPr>
          <p:cNvPr id="8" name="Group 7"/>
          <p:cNvGrpSpPr/>
          <p:nvPr/>
        </p:nvGrpSpPr>
        <p:grpSpPr>
          <a:xfrm>
            <a:off x="393700" y="5157788"/>
            <a:ext cx="2185988" cy="914400"/>
            <a:chOff x="393700" y="5157788"/>
            <a:chExt cx="2185988" cy="914400"/>
          </a:xfrm>
        </p:grpSpPr>
        <p:sp>
          <p:nvSpPr>
            <p:cNvPr id="38" name="Rounded Rectangle 37"/>
            <p:cNvSpPr/>
            <p:nvPr/>
          </p:nvSpPr>
          <p:spPr bwMode="auto">
            <a:xfrm>
              <a:off x="393700" y="5157788"/>
              <a:ext cx="2185988" cy="914400"/>
            </a:xfrm>
            <a:prstGeom prst="roundRect">
              <a:avLst>
                <a:gd name="adj" fmla="val 5828"/>
              </a:avLst>
            </a:prstGeom>
            <a:solidFill>
              <a:schemeClr val="accent2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anchor="ctr"/>
            <a:lstStyle/>
            <a:p>
              <a:pPr>
                <a:defRPr/>
              </a:pPr>
              <a:endParaRPr lang="en-US" sz="1400" b="1" kern="0" dirty="0">
                <a:solidFill>
                  <a:schemeClr val="bg1"/>
                </a:solidFill>
                <a:ea typeface="ＭＳ Ｐゴシック" charset="-128"/>
                <a:cs typeface="Arial" charset="0"/>
              </a:endParaRPr>
            </a:p>
          </p:txBody>
        </p:sp>
        <p:sp>
          <p:nvSpPr>
            <p:cNvPr id="19468" name="TextBox 2"/>
            <p:cNvSpPr txBox="1">
              <a:spLocks noChangeArrowheads="1"/>
            </p:cNvSpPr>
            <p:nvPr/>
          </p:nvSpPr>
          <p:spPr bwMode="auto">
            <a:xfrm>
              <a:off x="512763" y="5313363"/>
              <a:ext cx="1917700" cy="64611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eaLnBrk="0" hangingPunct="0">
                <a:spcBef>
                  <a:spcPct val="20000"/>
                </a:spcBef>
                <a:buClr>
                  <a:schemeClr val="accent2"/>
                </a:buClr>
                <a:buFont typeface="Wingdings" pitchFamily="2" charset="2"/>
                <a:buChar char="v"/>
                <a:defRPr sz="28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spcBef>
                  <a:spcPct val="20000"/>
                </a:spcBef>
                <a:buClr>
                  <a:schemeClr val="accent2"/>
                </a:buClr>
                <a:buFont typeface="Wingdings" pitchFamily="2" charset="2"/>
                <a:buChar char="§"/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spcBef>
                  <a:spcPct val="20000"/>
                </a:spcBef>
                <a:buClr>
                  <a:schemeClr val="accent2"/>
                </a:buClr>
                <a:buChar char="•"/>
                <a:defRPr sz="20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spcBef>
                  <a:spcPct val="20000"/>
                </a:spcBef>
                <a:buChar char="–"/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spcBef>
                  <a:spcPct val="20000"/>
                </a:spcBef>
                <a:buChar char="»"/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defTabSz="4572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defTabSz="4572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defTabSz="4572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defTabSz="4572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spcBef>
                  <a:spcPct val="0"/>
                </a:spcBef>
                <a:buClrTx/>
                <a:buFontTx/>
                <a:buNone/>
              </a:pPr>
              <a:r>
                <a:rPr lang="en-US" altLang="en-US" sz="1800" b="1" dirty="0">
                  <a:solidFill>
                    <a:schemeClr val="bg1"/>
                  </a:solidFill>
                </a:rPr>
                <a:t>Integrated Feedback Loop</a:t>
              </a:r>
              <a:endParaRPr lang="en-US" altLang="en-US" sz="1800" b="1" dirty="0"/>
            </a:p>
          </p:txBody>
        </p:sp>
      </p:grpSp>
      <p:sp>
        <p:nvSpPr>
          <p:cNvPr id="13" name="TextBox 12"/>
          <p:cNvSpPr txBox="1"/>
          <p:nvPr/>
        </p:nvSpPr>
        <p:spPr>
          <a:xfrm>
            <a:off x="2233748" y="6348549"/>
            <a:ext cx="273013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i="1" dirty="0" smtClean="0"/>
              <a:t>Subject  to change, Agile model in use</a:t>
            </a:r>
            <a:endParaRPr lang="en-US" sz="1200" i="1" dirty="0"/>
          </a:p>
        </p:txBody>
      </p:sp>
    </p:spTree>
    <p:extLst>
      <p:ext uri="{BB962C8B-B14F-4D97-AF65-F5344CB8AC3E}">
        <p14:creationId xmlns:p14="http://schemas.microsoft.com/office/powerpoint/2010/main" val="894353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dirty="0" smtClean="0"/>
              <a:t>Flexible, Well-Trained Workforc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z="2400" dirty="0" smtClean="0"/>
              <a:t>Focus </a:t>
            </a:r>
            <a:r>
              <a:rPr lang="en-US" sz="2400" dirty="0"/>
              <a:t>training on transactions and issues that employees will encounter in their work</a:t>
            </a:r>
            <a:r>
              <a:rPr lang="en-US" sz="2400" dirty="0" smtClean="0"/>
              <a:t>.</a:t>
            </a:r>
            <a:endParaRPr lang="en-US" sz="2400" dirty="0"/>
          </a:p>
          <a:p>
            <a:pPr lvl="0"/>
            <a:r>
              <a:rPr lang="en-US" sz="2400" dirty="0"/>
              <a:t>Provide timely training needed to address current </a:t>
            </a:r>
            <a:r>
              <a:rPr lang="en-US" sz="2400" dirty="0" smtClean="0"/>
              <a:t>cases.</a:t>
            </a:r>
            <a:endParaRPr lang="en-US" sz="2400" dirty="0"/>
          </a:p>
          <a:p>
            <a:pPr lvl="0"/>
            <a:r>
              <a:rPr lang="en-US" sz="2400" dirty="0"/>
              <a:t>Create training curriculum designed to allow employees to grow their skills and have the opportunity to focus in a specific issue area</a:t>
            </a:r>
            <a:r>
              <a:rPr lang="en-US" sz="2400" dirty="0" smtClean="0"/>
              <a:t>.</a:t>
            </a:r>
            <a:endParaRPr lang="en-US" sz="2400" dirty="0"/>
          </a:p>
          <a:p>
            <a:r>
              <a:rPr lang="en-US" sz="2400" dirty="0"/>
              <a:t>Create mentor-protégé roles and expectations to transfer skill and </a:t>
            </a:r>
            <a:r>
              <a:rPr lang="en-US" sz="2400" dirty="0" smtClean="0"/>
              <a:t>knowledge. </a:t>
            </a:r>
            <a:endParaRPr lang="en-US" sz="2400" dirty="0"/>
          </a:p>
        </p:txBody>
      </p:sp>
    </p:spTree>
    <p:extLst>
      <p:ext uri="{BB962C8B-B14F-4D97-AF65-F5344CB8AC3E}">
        <p14:creationId xmlns:p14="http://schemas.microsoft.com/office/powerpoint/2010/main" val="243647292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Content Placeholder 1"/>
          <p:cNvSpPr>
            <a:spLocks noGrp="1"/>
          </p:cNvSpPr>
          <p:nvPr>
            <p:ph idx="1"/>
          </p:nvPr>
        </p:nvSpPr>
        <p:spPr>
          <a:xfrm>
            <a:off x="457200" y="1489167"/>
            <a:ext cx="8229600" cy="4503860"/>
          </a:xfrm>
        </p:spPr>
        <p:txBody>
          <a:bodyPr/>
          <a:lstStyle/>
          <a:p>
            <a:r>
              <a:rPr lang="en-US" altLang="en-US" sz="2400" dirty="0" smtClean="0"/>
              <a:t>LB&amp;I will use data analysis and feedback from examiners to identify areas of potential non-compliance and will design campaigns to address those issues/areas. </a:t>
            </a:r>
          </a:p>
          <a:p>
            <a:r>
              <a:rPr lang="en-US" altLang="en-US" sz="2400" dirty="0" smtClean="0"/>
              <a:t>A campaign </a:t>
            </a:r>
            <a:r>
              <a:rPr lang="en-US" altLang="en-US" sz="2400" dirty="0"/>
              <a:t>is a plan focused on the right issues, using the right resources, and using the right combination of treatment streams to achieve the intended compliance outcomes. </a:t>
            </a:r>
          </a:p>
          <a:p>
            <a:r>
              <a:rPr lang="en-US" altLang="en-US" sz="2400" dirty="0" smtClean="0"/>
              <a:t>A campaign could consist an examination and/or some type of alternate treatment such as outreach or guidance.  </a:t>
            </a:r>
          </a:p>
          <a:p>
            <a:pPr marL="0" indent="0">
              <a:buNone/>
            </a:pPr>
            <a:endParaRPr lang="en-US" altLang="en-US" dirty="0" smtClean="0"/>
          </a:p>
          <a:p>
            <a:endParaRPr lang="en-US" altLang="en-US" sz="2400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F958F9E0-8A88-4A30-96E1-F10E7C7D07E9}" type="slidenum">
              <a:rPr lang="en-US" smtClean="0">
                <a:solidFill>
                  <a:srgbClr val="000000"/>
                </a:solidFill>
              </a:rPr>
              <a:pPr>
                <a:defRPr/>
              </a:pPr>
              <a:t>5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9220" name="Title 2"/>
          <p:cNvSpPr>
            <a:spLocks noGrp="1"/>
          </p:cNvSpPr>
          <p:nvPr>
            <p:ph type="title"/>
          </p:nvPr>
        </p:nvSpPr>
        <p:spPr>
          <a:xfrm>
            <a:off x="152400" y="264341"/>
            <a:ext cx="8991600" cy="639762"/>
          </a:xfrm>
        </p:spPr>
        <p:txBody>
          <a:bodyPr/>
          <a:lstStyle/>
          <a:p>
            <a:pPr algn="ctr"/>
            <a:r>
              <a:rPr lang="en-US" altLang="en-US" sz="3600" dirty="0" smtClean="0"/>
              <a:t>Selection of Better Work  &amp; </a:t>
            </a:r>
            <a:br>
              <a:rPr lang="en-US" altLang="en-US" sz="3600" dirty="0" smtClean="0"/>
            </a:br>
            <a:r>
              <a:rPr lang="en-US" altLang="en-US" sz="3600" dirty="0" smtClean="0"/>
              <a:t>Tailored Treatments</a:t>
            </a:r>
          </a:p>
        </p:txBody>
      </p:sp>
    </p:spTree>
    <p:extLst>
      <p:ext uri="{BB962C8B-B14F-4D97-AF65-F5344CB8AC3E}">
        <p14:creationId xmlns:p14="http://schemas.microsoft.com/office/powerpoint/2010/main" val="26873940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dirty="0" smtClean="0"/>
              <a:t>Integrated Feedback Loop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342900" lvl="1" indent="-342900">
              <a:buFont typeface="Wingdings" pitchFamily="2" charset="2"/>
              <a:buChar char="v"/>
            </a:pPr>
            <a:r>
              <a:rPr lang="en-US" altLang="en-US" sz="3000" dirty="0" smtClean="0"/>
              <a:t>LB&amp;I will obtain employee input and feedback on all aspects of the examination process, including return selection, training, content, and tools.  </a:t>
            </a:r>
          </a:p>
          <a:p>
            <a:pPr marL="342900" lvl="1" indent="-342900">
              <a:buFont typeface="Wingdings" pitchFamily="2" charset="2"/>
              <a:buChar char="v"/>
            </a:pPr>
            <a:r>
              <a:rPr lang="en-US" sz="3200" dirty="0" smtClean="0"/>
              <a:t>LB&amp;I’s compliance plan will </a:t>
            </a:r>
            <a:r>
              <a:rPr lang="en-US" sz="3200" dirty="0"/>
              <a:t>be adjusted </a:t>
            </a:r>
            <a:r>
              <a:rPr lang="en-US" sz="3200" dirty="0" smtClean="0"/>
              <a:t>in </a:t>
            </a:r>
            <a:r>
              <a:rPr lang="en-US" sz="3200" dirty="0"/>
              <a:t>real time based on examination experience once a campaign gets underway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9726280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362" name="Group 82"/>
          <p:cNvGrpSpPr>
            <a:grpSpLocks/>
          </p:cNvGrpSpPr>
          <p:nvPr/>
        </p:nvGrpSpPr>
        <p:grpSpPr bwMode="auto">
          <a:xfrm>
            <a:off x="23813" y="49213"/>
            <a:ext cx="9144000" cy="6858000"/>
            <a:chOff x="2311804" y="1037964"/>
            <a:chExt cx="6667358" cy="5502923"/>
          </a:xfrm>
        </p:grpSpPr>
        <p:sp>
          <p:nvSpPr>
            <p:cNvPr id="11" name="Rectangle 10"/>
            <p:cNvSpPr/>
            <p:nvPr/>
          </p:nvSpPr>
          <p:spPr bwMode="auto">
            <a:xfrm>
              <a:off x="2311804" y="1037964"/>
              <a:ext cx="6667358" cy="5502923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glow rad="127000">
                <a:schemeClr val="tx1">
                  <a:lumMod val="50000"/>
                  <a:lumOff val="50000"/>
                </a:schemeClr>
              </a:glow>
            </a:effectLst>
          </p:spPr>
          <p:txBody>
            <a:bodyPr lIns="0" tIns="0" rIns="0" bIns="0" anchor="ctr"/>
            <a:lstStyle/>
            <a:p>
              <a:pPr marL="231775" indent="-231775" defTabSz="914400">
                <a:lnSpc>
                  <a:spcPct val="106000"/>
                </a:lnSpc>
                <a:buFont typeface="Wingdings 2" pitchFamily="18" charset="2"/>
                <a:buNone/>
                <a:defRPr/>
              </a:pPr>
              <a:endParaRPr lang="en-US" sz="2400" dirty="0">
                <a:ea typeface="ＭＳ Ｐゴシック" charset="-128"/>
              </a:endParaRPr>
            </a:p>
          </p:txBody>
        </p:sp>
        <p:grpSp>
          <p:nvGrpSpPr>
            <p:cNvPr id="15366" name="Group 79"/>
            <p:cNvGrpSpPr>
              <a:grpSpLocks/>
            </p:cNvGrpSpPr>
            <p:nvPr/>
          </p:nvGrpSpPr>
          <p:grpSpPr bwMode="auto">
            <a:xfrm>
              <a:off x="2687237" y="1443419"/>
              <a:ext cx="5625189" cy="4737820"/>
              <a:chOff x="2955851" y="1429809"/>
              <a:chExt cx="4988576" cy="4243666"/>
            </a:xfrm>
          </p:grpSpPr>
          <p:grpSp>
            <p:nvGrpSpPr>
              <p:cNvPr id="15376" name="Group 17"/>
              <p:cNvGrpSpPr>
                <a:grpSpLocks/>
              </p:cNvGrpSpPr>
              <p:nvPr/>
            </p:nvGrpSpPr>
            <p:grpSpPr bwMode="auto">
              <a:xfrm>
                <a:off x="2955851" y="1429809"/>
                <a:ext cx="3530579" cy="1598074"/>
                <a:chOff x="2955851" y="1429809"/>
                <a:chExt cx="3530579" cy="1598074"/>
              </a:xfrm>
            </p:grpSpPr>
            <p:sp>
              <p:nvSpPr>
                <p:cNvPr id="676869" name="Freeform 4"/>
                <p:cNvSpPr>
                  <a:spLocks/>
                </p:cNvSpPr>
                <p:nvPr/>
              </p:nvSpPr>
              <p:spPr bwMode="blackWhite">
                <a:xfrm>
                  <a:off x="2955501" y="1429470"/>
                  <a:ext cx="3531256" cy="1598492"/>
                </a:xfrm>
                <a:custGeom>
                  <a:avLst/>
                  <a:gdLst>
                    <a:gd name="T0" fmla="*/ 0 w 2206"/>
                    <a:gd name="T1" fmla="*/ 2147483647 h 1099"/>
                    <a:gd name="T2" fmla="*/ 2147483647 w 2206"/>
                    <a:gd name="T3" fmla="*/ 2147483647 h 1099"/>
                    <a:gd name="T4" fmla="*/ 2147483647 w 2206"/>
                    <a:gd name="T5" fmla="*/ 2147483647 h 1099"/>
                    <a:gd name="T6" fmla="*/ 2147483647 w 2206"/>
                    <a:gd name="T7" fmla="*/ 2147483647 h 1099"/>
                    <a:gd name="T8" fmla="*/ 2147483647 w 2206"/>
                    <a:gd name="T9" fmla="*/ 2147483647 h 1099"/>
                    <a:gd name="T10" fmla="*/ 2147483647 w 2206"/>
                    <a:gd name="T11" fmla="*/ 2147483647 h 1099"/>
                    <a:gd name="T12" fmla="*/ 2147483647 w 2206"/>
                    <a:gd name="T13" fmla="*/ 2147483647 h 1099"/>
                    <a:gd name="T14" fmla="*/ 2147483647 w 2206"/>
                    <a:gd name="T15" fmla="*/ 2147483647 h 1099"/>
                    <a:gd name="T16" fmla="*/ 2147483647 w 2206"/>
                    <a:gd name="T17" fmla="*/ 2147483647 h 1099"/>
                    <a:gd name="T18" fmla="*/ 2147483647 w 2206"/>
                    <a:gd name="T19" fmla="*/ 2147483647 h 1099"/>
                    <a:gd name="T20" fmla="*/ 2147483647 w 2206"/>
                    <a:gd name="T21" fmla="*/ 2147483647 h 1099"/>
                    <a:gd name="T22" fmla="*/ 2147483647 w 2206"/>
                    <a:gd name="T23" fmla="*/ 2147483647 h 1099"/>
                    <a:gd name="T24" fmla="*/ 2147483647 w 2206"/>
                    <a:gd name="T25" fmla="*/ 2147483647 h 1099"/>
                    <a:gd name="T26" fmla="*/ 2147483647 w 2206"/>
                    <a:gd name="T27" fmla="*/ 2147483647 h 1099"/>
                    <a:gd name="T28" fmla="*/ 2147483647 w 2206"/>
                    <a:gd name="T29" fmla="*/ 0 h 1099"/>
                    <a:gd name="T30" fmla="*/ 2147483647 w 2206"/>
                    <a:gd name="T31" fmla="*/ 2147483647 h 1099"/>
                    <a:gd name="T32" fmla="*/ 0 w 2206"/>
                    <a:gd name="T33" fmla="*/ 2147483647 h 1099"/>
                    <a:gd name="T34" fmla="*/ 0 w 2206"/>
                    <a:gd name="T35" fmla="*/ 2147483647 h 1099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w 2206"/>
                    <a:gd name="T55" fmla="*/ 0 h 1099"/>
                    <a:gd name="T56" fmla="*/ 2206 w 2206"/>
                    <a:gd name="T57" fmla="*/ 1099 h 1099"/>
                    <a:gd name="connsiteX0" fmla="*/ 0 w 2205"/>
                    <a:gd name="connsiteY0" fmla="*/ 864 h 1098"/>
                    <a:gd name="connsiteX1" fmla="*/ 1339 w 2205"/>
                    <a:gd name="connsiteY1" fmla="*/ 864 h 1098"/>
                    <a:gd name="connsiteX2" fmla="*/ 1191 w 2205"/>
                    <a:gd name="connsiteY2" fmla="*/ 1011 h 1098"/>
                    <a:gd name="connsiteX3" fmla="*/ 1552 w 2205"/>
                    <a:gd name="connsiteY3" fmla="*/ 1098 h 1098"/>
                    <a:gd name="connsiteX4" fmla="*/ 1587 w 2205"/>
                    <a:gd name="connsiteY4" fmla="*/ 1045 h 1098"/>
                    <a:gd name="connsiteX5" fmla="*/ 1625 w 2205"/>
                    <a:gd name="connsiteY5" fmla="*/ 996 h 1098"/>
                    <a:gd name="connsiteX6" fmla="*/ 1666 w 2205"/>
                    <a:gd name="connsiteY6" fmla="*/ 948 h 1098"/>
                    <a:gd name="connsiteX7" fmla="*/ 1711 w 2205"/>
                    <a:gd name="connsiteY7" fmla="*/ 906 h 1098"/>
                    <a:gd name="connsiteX8" fmla="*/ 1754 w 2205"/>
                    <a:gd name="connsiteY8" fmla="*/ 872 h 1098"/>
                    <a:gd name="connsiteX9" fmla="*/ 1800 w 2205"/>
                    <a:gd name="connsiteY9" fmla="*/ 845 h 1098"/>
                    <a:gd name="connsiteX10" fmla="*/ 1850 w 2205"/>
                    <a:gd name="connsiteY10" fmla="*/ 822 h 1098"/>
                    <a:gd name="connsiteX11" fmla="*/ 1900 w 2205"/>
                    <a:gd name="connsiteY11" fmla="*/ 803 h 1098"/>
                    <a:gd name="connsiteX12" fmla="*/ 1953 w 2205"/>
                    <a:gd name="connsiteY12" fmla="*/ 790 h 1098"/>
                    <a:gd name="connsiteX13" fmla="*/ 1983 w 2205"/>
                    <a:gd name="connsiteY13" fmla="*/ 1013 h 1098"/>
                    <a:gd name="connsiteX14" fmla="*/ 2205 w 2205"/>
                    <a:gd name="connsiteY14" fmla="*/ 471 h 1098"/>
                    <a:gd name="connsiteX15" fmla="*/ 1872 w 2205"/>
                    <a:gd name="connsiteY15" fmla="*/ 0 h 1098"/>
                    <a:gd name="connsiteX16" fmla="*/ 1873 w 2205"/>
                    <a:gd name="connsiteY16" fmla="*/ 196 h 1098"/>
                    <a:gd name="connsiteX17" fmla="*/ 0 w 2205"/>
                    <a:gd name="connsiteY17" fmla="*/ 196 h 1098"/>
                    <a:gd name="connsiteX18" fmla="*/ 0 w 2205"/>
                    <a:gd name="connsiteY18" fmla="*/ 864 h 1098"/>
                    <a:gd name="connsiteX0" fmla="*/ 0 w 2205"/>
                    <a:gd name="connsiteY0" fmla="*/ 864 h 1098"/>
                    <a:gd name="connsiteX1" fmla="*/ 881 w 2205"/>
                    <a:gd name="connsiteY1" fmla="*/ 864 h 1098"/>
                    <a:gd name="connsiteX2" fmla="*/ 1191 w 2205"/>
                    <a:gd name="connsiteY2" fmla="*/ 1011 h 1098"/>
                    <a:gd name="connsiteX3" fmla="*/ 1552 w 2205"/>
                    <a:gd name="connsiteY3" fmla="*/ 1098 h 1098"/>
                    <a:gd name="connsiteX4" fmla="*/ 1587 w 2205"/>
                    <a:gd name="connsiteY4" fmla="*/ 1045 h 1098"/>
                    <a:gd name="connsiteX5" fmla="*/ 1625 w 2205"/>
                    <a:gd name="connsiteY5" fmla="*/ 996 h 1098"/>
                    <a:gd name="connsiteX6" fmla="*/ 1666 w 2205"/>
                    <a:gd name="connsiteY6" fmla="*/ 948 h 1098"/>
                    <a:gd name="connsiteX7" fmla="*/ 1711 w 2205"/>
                    <a:gd name="connsiteY7" fmla="*/ 906 h 1098"/>
                    <a:gd name="connsiteX8" fmla="*/ 1754 w 2205"/>
                    <a:gd name="connsiteY8" fmla="*/ 872 h 1098"/>
                    <a:gd name="connsiteX9" fmla="*/ 1800 w 2205"/>
                    <a:gd name="connsiteY9" fmla="*/ 845 h 1098"/>
                    <a:gd name="connsiteX10" fmla="*/ 1850 w 2205"/>
                    <a:gd name="connsiteY10" fmla="*/ 822 h 1098"/>
                    <a:gd name="connsiteX11" fmla="*/ 1900 w 2205"/>
                    <a:gd name="connsiteY11" fmla="*/ 803 h 1098"/>
                    <a:gd name="connsiteX12" fmla="*/ 1953 w 2205"/>
                    <a:gd name="connsiteY12" fmla="*/ 790 h 1098"/>
                    <a:gd name="connsiteX13" fmla="*/ 1983 w 2205"/>
                    <a:gd name="connsiteY13" fmla="*/ 1013 h 1098"/>
                    <a:gd name="connsiteX14" fmla="*/ 2205 w 2205"/>
                    <a:gd name="connsiteY14" fmla="*/ 471 h 1098"/>
                    <a:gd name="connsiteX15" fmla="*/ 1872 w 2205"/>
                    <a:gd name="connsiteY15" fmla="*/ 0 h 1098"/>
                    <a:gd name="connsiteX16" fmla="*/ 1873 w 2205"/>
                    <a:gd name="connsiteY16" fmla="*/ 196 h 1098"/>
                    <a:gd name="connsiteX17" fmla="*/ 0 w 2205"/>
                    <a:gd name="connsiteY17" fmla="*/ 196 h 1098"/>
                    <a:gd name="connsiteX18" fmla="*/ 0 w 2205"/>
                    <a:gd name="connsiteY18" fmla="*/ 864 h 1098"/>
                    <a:gd name="connsiteX0" fmla="*/ 0 w 2205"/>
                    <a:gd name="connsiteY0" fmla="*/ 864 h 1098"/>
                    <a:gd name="connsiteX1" fmla="*/ 881 w 2205"/>
                    <a:gd name="connsiteY1" fmla="*/ 864 h 1098"/>
                    <a:gd name="connsiteX2" fmla="*/ 760 w 2205"/>
                    <a:gd name="connsiteY2" fmla="*/ 787 h 1098"/>
                    <a:gd name="connsiteX3" fmla="*/ 1552 w 2205"/>
                    <a:gd name="connsiteY3" fmla="*/ 1098 h 1098"/>
                    <a:gd name="connsiteX4" fmla="*/ 1587 w 2205"/>
                    <a:gd name="connsiteY4" fmla="*/ 1045 h 1098"/>
                    <a:gd name="connsiteX5" fmla="*/ 1625 w 2205"/>
                    <a:gd name="connsiteY5" fmla="*/ 996 h 1098"/>
                    <a:gd name="connsiteX6" fmla="*/ 1666 w 2205"/>
                    <a:gd name="connsiteY6" fmla="*/ 948 h 1098"/>
                    <a:gd name="connsiteX7" fmla="*/ 1711 w 2205"/>
                    <a:gd name="connsiteY7" fmla="*/ 906 h 1098"/>
                    <a:gd name="connsiteX8" fmla="*/ 1754 w 2205"/>
                    <a:gd name="connsiteY8" fmla="*/ 872 h 1098"/>
                    <a:gd name="connsiteX9" fmla="*/ 1800 w 2205"/>
                    <a:gd name="connsiteY9" fmla="*/ 845 h 1098"/>
                    <a:gd name="connsiteX10" fmla="*/ 1850 w 2205"/>
                    <a:gd name="connsiteY10" fmla="*/ 822 h 1098"/>
                    <a:gd name="connsiteX11" fmla="*/ 1900 w 2205"/>
                    <a:gd name="connsiteY11" fmla="*/ 803 h 1098"/>
                    <a:gd name="connsiteX12" fmla="*/ 1953 w 2205"/>
                    <a:gd name="connsiteY12" fmla="*/ 790 h 1098"/>
                    <a:gd name="connsiteX13" fmla="*/ 1983 w 2205"/>
                    <a:gd name="connsiteY13" fmla="*/ 1013 h 1098"/>
                    <a:gd name="connsiteX14" fmla="*/ 2205 w 2205"/>
                    <a:gd name="connsiteY14" fmla="*/ 471 h 1098"/>
                    <a:gd name="connsiteX15" fmla="*/ 1872 w 2205"/>
                    <a:gd name="connsiteY15" fmla="*/ 0 h 1098"/>
                    <a:gd name="connsiteX16" fmla="*/ 1873 w 2205"/>
                    <a:gd name="connsiteY16" fmla="*/ 196 h 1098"/>
                    <a:gd name="connsiteX17" fmla="*/ 0 w 2205"/>
                    <a:gd name="connsiteY17" fmla="*/ 196 h 1098"/>
                    <a:gd name="connsiteX18" fmla="*/ 0 w 2205"/>
                    <a:gd name="connsiteY18" fmla="*/ 864 h 1098"/>
                    <a:gd name="connsiteX0" fmla="*/ 0 w 2205"/>
                    <a:gd name="connsiteY0" fmla="*/ 864 h 1063"/>
                    <a:gd name="connsiteX1" fmla="*/ 881 w 2205"/>
                    <a:gd name="connsiteY1" fmla="*/ 864 h 1063"/>
                    <a:gd name="connsiteX2" fmla="*/ 760 w 2205"/>
                    <a:gd name="connsiteY2" fmla="*/ 787 h 1063"/>
                    <a:gd name="connsiteX3" fmla="*/ 1419 w 2205"/>
                    <a:gd name="connsiteY3" fmla="*/ 805 h 1063"/>
                    <a:gd name="connsiteX4" fmla="*/ 1587 w 2205"/>
                    <a:gd name="connsiteY4" fmla="*/ 1045 h 1063"/>
                    <a:gd name="connsiteX5" fmla="*/ 1625 w 2205"/>
                    <a:gd name="connsiteY5" fmla="*/ 996 h 1063"/>
                    <a:gd name="connsiteX6" fmla="*/ 1666 w 2205"/>
                    <a:gd name="connsiteY6" fmla="*/ 948 h 1063"/>
                    <a:gd name="connsiteX7" fmla="*/ 1711 w 2205"/>
                    <a:gd name="connsiteY7" fmla="*/ 906 h 1063"/>
                    <a:gd name="connsiteX8" fmla="*/ 1754 w 2205"/>
                    <a:gd name="connsiteY8" fmla="*/ 872 h 1063"/>
                    <a:gd name="connsiteX9" fmla="*/ 1800 w 2205"/>
                    <a:gd name="connsiteY9" fmla="*/ 845 h 1063"/>
                    <a:gd name="connsiteX10" fmla="*/ 1850 w 2205"/>
                    <a:gd name="connsiteY10" fmla="*/ 822 h 1063"/>
                    <a:gd name="connsiteX11" fmla="*/ 1900 w 2205"/>
                    <a:gd name="connsiteY11" fmla="*/ 803 h 1063"/>
                    <a:gd name="connsiteX12" fmla="*/ 1953 w 2205"/>
                    <a:gd name="connsiteY12" fmla="*/ 790 h 1063"/>
                    <a:gd name="connsiteX13" fmla="*/ 1983 w 2205"/>
                    <a:gd name="connsiteY13" fmla="*/ 1013 h 1063"/>
                    <a:gd name="connsiteX14" fmla="*/ 2205 w 2205"/>
                    <a:gd name="connsiteY14" fmla="*/ 471 h 1063"/>
                    <a:gd name="connsiteX15" fmla="*/ 1872 w 2205"/>
                    <a:gd name="connsiteY15" fmla="*/ 0 h 1063"/>
                    <a:gd name="connsiteX16" fmla="*/ 1873 w 2205"/>
                    <a:gd name="connsiteY16" fmla="*/ 196 h 1063"/>
                    <a:gd name="connsiteX17" fmla="*/ 0 w 2205"/>
                    <a:gd name="connsiteY17" fmla="*/ 196 h 1063"/>
                    <a:gd name="connsiteX18" fmla="*/ 0 w 2205"/>
                    <a:gd name="connsiteY18" fmla="*/ 864 h 1063"/>
                    <a:gd name="connsiteX0" fmla="*/ 0 w 2205"/>
                    <a:gd name="connsiteY0" fmla="*/ 864 h 1063"/>
                    <a:gd name="connsiteX1" fmla="*/ 881 w 2205"/>
                    <a:gd name="connsiteY1" fmla="*/ 864 h 1063"/>
                    <a:gd name="connsiteX2" fmla="*/ 760 w 2205"/>
                    <a:gd name="connsiteY2" fmla="*/ 787 h 1063"/>
                    <a:gd name="connsiteX3" fmla="*/ 1419 w 2205"/>
                    <a:gd name="connsiteY3" fmla="*/ 805 h 1063"/>
                    <a:gd name="connsiteX4" fmla="*/ 1587 w 2205"/>
                    <a:gd name="connsiteY4" fmla="*/ 1045 h 1063"/>
                    <a:gd name="connsiteX5" fmla="*/ 1625 w 2205"/>
                    <a:gd name="connsiteY5" fmla="*/ 996 h 1063"/>
                    <a:gd name="connsiteX6" fmla="*/ 1666 w 2205"/>
                    <a:gd name="connsiteY6" fmla="*/ 948 h 1063"/>
                    <a:gd name="connsiteX7" fmla="*/ 1711 w 2205"/>
                    <a:gd name="connsiteY7" fmla="*/ 906 h 1063"/>
                    <a:gd name="connsiteX8" fmla="*/ 1754 w 2205"/>
                    <a:gd name="connsiteY8" fmla="*/ 872 h 1063"/>
                    <a:gd name="connsiteX9" fmla="*/ 1800 w 2205"/>
                    <a:gd name="connsiteY9" fmla="*/ 845 h 1063"/>
                    <a:gd name="connsiteX10" fmla="*/ 1850 w 2205"/>
                    <a:gd name="connsiteY10" fmla="*/ 822 h 1063"/>
                    <a:gd name="connsiteX11" fmla="*/ 1900 w 2205"/>
                    <a:gd name="connsiteY11" fmla="*/ 803 h 1063"/>
                    <a:gd name="connsiteX12" fmla="*/ 1953 w 2205"/>
                    <a:gd name="connsiteY12" fmla="*/ 790 h 1063"/>
                    <a:gd name="connsiteX13" fmla="*/ 1983 w 2205"/>
                    <a:gd name="connsiteY13" fmla="*/ 1013 h 1063"/>
                    <a:gd name="connsiteX14" fmla="*/ 2205 w 2205"/>
                    <a:gd name="connsiteY14" fmla="*/ 471 h 1063"/>
                    <a:gd name="connsiteX15" fmla="*/ 1872 w 2205"/>
                    <a:gd name="connsiteY15" fmla="*/ 0 h 1063"/>
                    <a:gd name="connsiteX16" fmla="*/ 1873 w 2205"/>
                    <a:gd name="connsiteY16" fmla="*/ 196 h 1063"/>
                    <a:gd name="connsiteX17" fmla="*/ 0 w 2205"/>
                    <a:gd name="connsiteY17" fmla="*/ 196 h 1063"/>
                    <a:gd name="connsiteX18" fmla="*/ 0 w 2205"/>
                    <a:gd name="connsiteY18" fmla="*/ 864 h 106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</a:cxnLst>
                  <a:rect l="l" t="t" r="r" b="b"/>
                  <a:pathLst>
                    <a:path w="2205" h="1063">
                      <a:moveTo>
                        <a:pt x="0" y="864"/>
                      </a:moveTo>
                      <a:lnTo>
                        <a:pt x="881" y="864"/>
                      </a:lnTo>
                      <a:cubicBezTo>
                        <a:pt x="881" y="869"/>
                        <a:pt x="760" y="782"/>
                        <a:pt x="760" y="787"/>
                      </a:cubicBezTo>
                      <a:cubicBezTo>
                        <a:pt x="983" y="797"/>
                        <a:pt x="1199" y="799"/>
                        <a:pt x="1419" y="805"/>
                      </a:cubicBezTo>
                      <a:cubicBezTo>
                        <a:pt x="1431" y="787"/>
                        <a:pt x="1575" y="1063"/>
                        <a:pt x="1587" y="1045"/>
                      </a:cubicBezTo>
                      <a:cubicBezTo>
                        <a:pt x="1600" y="1029"/>
                        <a:pt x="1612" y="1012"/>
                        <a:pt x="1625" y="996"/>
                      </a:cubicBezTo>
                      <a:cubicBezTo>
                        <a:pt x="1639" y="980"/>
                        <a:pt x="1652" y="964"/>
                        <a:pt x="1666" y="948"/>
                      </a:cubicBezTo>
                      <a:lnTo>
                        <a:pt x="1711" y="906"/>
                      </a:lnTo>
                      <a:lnTo>
                        <a:pt x="1754" y="872"/>
                      </a:lnTo>
                      <a:cubicBezTo>
                        <a:pt x="1769" y="863"/>
                        <a:pt x="1785" y="854"/>
                        <a:pt x="1800" y="845"/>
                      </a:cubicBezTo>
                      <a:cubicBezTo>
                        <a:pt x="1817" y="837"/>
                        <a:pt x="1833" y="830"/>
                        <a:pt x="1850" y="822"/>
                      </a:cubicBezTo>
                      <a:cubicBezTo>
                        <a:pt x="1867" y="816"/>
                        <a:pt x="1883" y="809"/>
                        <a:pt x="1900" y="803"/>
                      </a:cubicBezTo>
                      <a:cubicBezTo>
                        <a:pt x="1918" y="799"/>
                        <a:pt x="1935" y="794"/>
                        <a:pt x="1953" y="790"/>
                      </a:cubicBezTo>
                      <a:cubicBezTo>
                        <a:pt x="1963" y="864"/>
                        <a:pt x="1973" y="939"/>
                        <a:pt x="1983" y="1013"/>
                      </a:cubicBezTo>
                      <a:lnTo>
                        <a:pt x="2205" y="471"/>
                      </a:lnTo>
                      <a:lnTo>
                        <a:pt x="1872" y="0"/>
                      </a:lnTo>
                      <a:cubicBezTo>
                        <a:pt x="1872" y="65"/>
                        <a:pt x="1873" y="131"/>
                        <a:pt x="1873" y="196"/>
                      </a:cubicBezTo>
                      <a:lnTo>
                        <a:pt x="0" y="196"/>
                      </a:lnTo>
                      <a:lnTo>
                        <a:pt x="0" y="864"/>
                      </a:lnTo>
                    </a:path>
                  </a:pathLst>
                </a:custGeom>
                <a:solidFill>
                  <a:srgbClr val="FFC000"/>
                </a:solidFill>
                <a:ln w="12700" cap="rnd">
                  <a:noFill/>
                  <a:round/>
                  <a:headEnd/>
                  <a:tailEnd/>
                </a:ln>
              </p:spPr>
              <p:txBody>
                <a:bodyPr anchor="ctr"/>
                <a:lstStyle/>
                <a:p>
                  <a:pPr algn="ctr">
                    <a:spcBef>
                      <a:spcPct val="20000"/>
                    </a:spcBef>
                    <a:defRPr/>
                  </a:pPr>
                  <a:endParaRPr lang="en-GB" sz="1050" b="1" dirty="0">
                    <a:solidFill>
                      <a:srgbClr val="FFFFFF"/>
                    </a:solidFill>
                    <a:ea typeface="+mn-ea"/>
                    <a:cs typeface="Arial" pitchFamily="34" charset="0"/>
                  </a:endParaRPr>
                </a:p>
              </p:txBody>
            </p:sp>
            <p:sp>
              <p:nvSpPr>
                <p:cNvPr id="676873" name="Rectangle 8"/>
                <p:cNvSpPr>
                  <a:spLocks noChangeArrowheads="1"/>
                </p:cNvSpPr>
                <p:nvPr/>
              </p:nvSpPr>
              <p:spPr bwMode="blackWhite">
                <a:xfrm>
                  <a:off x="3050968" y="2148278"/>
                  <a:ext cx="3112433" cy="146044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  <p:txBody>
                <a:bodyPr lIns="0" tIns="0" rIns="0" bIns="0" anchor="ctr">
                  <a:spAutoFit/>
                </a:bodyPr>
                <a:lstStyle/>
                <a:p>
                  <a:pPr algn="ctr" defTabSz="787400">
                    <a:lnSpc>
                      <a:spcPct val="95000"/>
                    </a:lnSpc>
                    <a:spcBef>
                      <a:spcPct val="80000"/>
                    </a:spcBef>
                    <a:buClr>
                      <a:srgbClr val="002776"/>
                    </a:buClr>
                    <a:buFont typeface="Wingdings 2" pitchFamily="18" charset="2"/>
                    <a:buNone/>
                    <a:defRPr/>
                  </a:pPr>
                  <a:r>
                    <a:rPr lang="en-GB" sz="1400" b="1" dirty="0">
                      <a:ea typeface="+mn-ea"/>
                      <a:cs typeface="Arial" pitchFamily="34" charset="0"/>
                    </a:rPr>
                    <a:t>Scan Universe of External and Internal Inputs</a:t>
                  </a:r>
                </a:p>
              </p:txBody>
            </p:sp>
          </p:grpSp>
          <p:grpSp>
            <p:nvGrpSpPr>
              <p:cNvPr id="15377" name="Group 21"/>
              <p:cNvGrpSpPr>
                <a:grpSpLocks/>
              </p:cNvGrpSpPr>
              <p:nvPr/>
            </p:nvGrpSpPr>
            <p:grpSpPr bwMode="auto">
              <a:xfrm>
                <a:off x="6223458" y="1725101"/>
                <a:ext cx="1643192" cy="1444410"/>
                <a:chOff x="6223458" y="1725101"/>
                <a:chExt cx="1643192" cy="1444410"/>
              </a:xfrm>
            </p:grpSpPr>
            <p:sp>
              <p:nvSpPr>
                <p:cNvPr id="676868" name="Freeform 3"/>
                <p:cNvSpPr>
                  <a:spLocks/>
                </p:cNvSpPr>
                <p:nvPr/>
              </p:nvSpPr>
              <p:spPr bwMode="blackWhite">
                <a:xfrm>
                  <a:off x="6199330" y="1724980"/>
                  <a:ext cx="1667081" cy="1444462"/>
                </a:xfrm>
                <a:custGeom>
                  <a:avLst/>
                  <a:gdLst>
                    <a:gd name="T0" fmla="*/ 2147483647 w 1109"/>
                    <a:gd name="T1" fmla="*/ 2147483647 h 962"/>
                    <a:gd name="T2" fmla="*/ 2147483647 w 1109"/>
                    <a:gd name="T3" fmla="*/ 2147483647 h 962"/>
                    <a:gd name="T4" fmla="*/ 2147483647 w 1109"/>
                    <a:gd name="T5" fmla="*/ 2147483647 h 962"/>
                    <a:gd name="T6" fmla="*/ 2147483647 w 1109"/>
                    <a:gd name="T7" fmla="*/ 2147483647 h 962"/>
                    <a:gd name="T8" fmla="*/ 2147483647 w 1109"/>
                    <a:gd name="T9" fmla="*/ 2147483647 h 962"/>
                    <a:gd name="T10" fmla="*/ 2147483647 w 1109"/>
                    <a:gd name="T11" fmla="*/ 2147483647 h 962"/>
                    <a:gd name="T12" fmla="*/ 2147483647 w 1109"/>
                    <a:gd name="T13" fmla="*/ 2147483647 h 962"/>
                    <a:gd name="T14" fmla="*/ 2147483647 w 1109"/>
                    <a:gd name="T15" fmla="*/ 2147483647 h 962"/>
                    <a:gd name="T16" fmla="*/ 2147483647 w 1109"/>
                    <a:gd name="T17" fmla="*/ 2147483647 h 962"/>
                    <a:gd name="T18" fmla="*/ 2147483647 w 1109"/>
                    <a:gd name="T19" fmla="*/ 2147483647 h 962"/>
                    <a:gd name="T20" fmla="*/ 2147483647 w 1109"/>
                    <a:gd name="T21" fmla="*/ 2147483647 h 962"/>
                    <a:gd name="T22" fmla="*/ 2147483647 w 1109"/>
                    <a:gd name="T23" fmla="*/ 2147483647 h 962"/>
                    <a:gd name="T24" fmla="*/ 2147483647 w 1109"/>
                    <a:gd name="T25" fmla="*/ 2147483647 h 962"/>
                    <a:gd name="T26" fmla="*/ 2147483647 w 1109"/>
                    <a:gd name="T27" fmla="*/ 2147483647 h 962"/>
                    <a:gd name="T28" fmla="*/ 2147483647 w 1109"/>
                    <a:gd name="T29" fmla="*/ 2147483647 h 962"/>
                    <a:gd name="T30" fmla="*/ 2147483647 w 1109"/>
                    <a:gd name="T31" fmla="*/ 2147483647 h 962"/>
                    <a:gd name="T32" fmla="*/ 2147483647 w 1109"/>
                    <a:gd name="T33" fmla="*/ 2147483647 h 962"/>
                    <a:gd name="T34" fmla="*/ 2147483647 w 1109"/>
                    <a:gd name="T35" fmla="*/ 2147483647 h 962"/>
                    <a:gd name="T36" fmla="*/ 2147483647 w 1109"/>
                    <a:gd name="T37" fmla="*/ 2147483647 h 962"/>
                    <a:gd name="T38" fmla="*/ 0 w 1109"/>
                    <a:gd name="T39" fmla="*/ 0 h 962"/>
                    <a:gd name="T40" fmla="*/ 2147483647 w 1109"/>
                    <a:gd name="T41" fmla="*/ 2147483647 h 962"/>
                    <a:gd name="T42" fmla="*/ 2147483647 w 1109"/>
                    <a:gd name="T43" fmla="*/ 2147483647 h 962"/>
                    <a:gd name="T44" fmla="*/ 2147483647 w 1109"/>
                    <a:gd name="T45" fmla="*/ 2147483647 h 962"/>
                    <a:gd name="T46" fmla="*/ 2147483647 w 1109"/>
                    <a:gd name="T47" fmla="*/ 2147483647 h 962"/>
                    <a:gd name="T48" fmla="*/ 2147483647 w 1109"/>
                    <a:gd name="T49" fmla="*/ 2147483647 h 962"/>
                    <a:gd name="T50" fmla="*/ 2147483647 w 1109"/>
                    <a:gd name="T51" fmla="*/ 2147483647 h 962"/>
                    <a:gd name="T52" fmla="*/ 2147483647 w 1109"/>
                    <a:gd name="T53" fmla="*/ 2147483647 h 962"/>
                    <a:gd name="T54" fmla="*/ 2147483647 w 1109"/>
                    <a:gd name="T55" fmla="*/ 2147483647 h 962"/>
                    <a:gd name="T56" fmla="*/ 2147483647 w 1109"/>
                    <a:gd name="T57" fmla="*/ 2147483647 h 962"/>
                    <a:gd name="T58" fmla="*/ 2147483647 w 1109"/>
                    <a:gd name="T59" fmla="*/ 2147483647 h 962"/>
                    <a:gd name="T60" fmla="*/ 2147483647 w 1109"/>
                    <a:gd name="T61" fmla="*/ 2147483647 h 962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w 1109"/>
                    <a:gd name="T94" fmla="*/ 0 h 962"/>
                    <a:gd name="T95" fmla="*/ 1109 w 1109"/>
                    <a:gd name="T96" fmla="*/ 962 h 962"/>
                    <a:gd name="connsiteX0" fmla="*/ 2218 w 9991"/>
                    <a:gd name="connsiteY0" fmla="*/ 9969 h 9990"/>
                    <a:gd name="connsiteX1" fmla="*/ 7565 w 9991"/>
                    <a:gd name="connsiteY1" fmla="*/ 9990 h 9990"/>
                    <a:gd name="connsiteX2" fmla="*/ 8422 w 9991"/>
                    <a:gd name="connsiteY2" fmla="*/ 8170 h 9990"/>
                    <a:gd name="connsiteX3" fmla="*/ 9225 w 9991"/>
                    <a:gd name="connsiteY3" fmla="*/ 6351 h 9990"/>
                    <a:gd name="connsiteX4" fmla="*/ 9991 w 9991"/>
                    <a:gd name="connsiteY4" fmla="*/ 4459 h 9990"/>
                    <a:gd name="connsiteX5" fmla="*/ 8386 w 9991"/>
                    <a:gd name="connsiteY5" fmla="*/ 5603 h 9990"/>
                    <a:gd name="connsiteX6" fmla="*/ 7980 w 9991"/>
                    <a:gd name="connsiteY6" fmla="*/ 4896 h 9990"/>
                    <a:gd name="connsiteX7" fmla="*/ 7547 w 9991"/>
                    <a:gd name="connsiteY7" fmla="*/ 4220 h 9990"/>
                    <a:gd name="connsiteX8" fmla="*/ 7060 w 9991"/>
                    <a:gd name="connsiteY8" fmla="*/ 3576 h 9990"/>
                    <a:gd name="connsiteX9" fmla="*/ 6528 w 9991"/>
                    <a:gd name="connsiteY9" fmla="*/ 2983 h 9990"/>
                    <a:gd name="connsiteX10" fmla="*/ 5978 w 9991"/>
                    <a:gd name="connsiteY10" fmla="*/ 2443 h 9990"/>
                    <a:gd name="connsiteX11" fmla="*/ 5392 w 9991"/>
                    <a:gd name="connsiteY11" fmla="*/ 1954 h 9990"/>
                    <a:gd name="connsiteX12" fmla="*/ 4779 w 9991"/>
                    <a:gd name="connsiteY12" fmla="*/ 1507 h 9990"/>
                    <a:gd name="connsiteX13" fmla="*/ 4148 w 9991"/>
                    <a:gd name="connsiteY13" fmla="*/ 1112 h 9990"/>
                    <a:gd name="connsiteX14" fmla="*/ 3490 w 9991"/>
                    <a:gd name="connsiteY14" fmla="*/ 780 h 9990"/>
                    <a:gd name="connsiteX15" fmla="*/ 2804 w 9991"/>
                    <a:gd name="connsiteY15" fmla="*/ 499 h 9990"/>
                    <a:gd name="connsiteX16" fmla="*/ 2128 w 9991"/>
                    <a:gd name="connsiteY16" fmla="*/ 281 h 9990"/>
                    <a:gd name="connsiteX17" fmla="*/ 1425 w 9991"/>
                    <a:gd name="connsiteY17" fmla="*/ 125 h 9990"/>
                    <a:gd name="connsiteX18" fmla="*/ 712 w 9991"/>
                    <a:gd name="connsiteY18" fmla="*/ 21 h 9990"/>
                    <a:gd name="connsiteX19" fmla="*/ 0 w 9991"/>
                    <a:gd name="connsiteY19" fmla="*/ 0 h 9990"/>
                    <a:gd name="connsiteX20" fmla="*/ 1894 w 9991"/>
                    <a:gd name="connsiteY20" fmla="*/ 2879 h 9990"/>
                    <a:gd name="connsiteX21" fmla="*/ 625 w 9991"/>
                    <a:gd name="connsiteY21" fmla="*/ 6191 h 9990"/>
                    <a:gd name="connsiteX22" fmla="*/ 1208 w 9991"/>
                    <a:gd name="connsiteY22" fmla="*/ 6383 h 9990"/>
                    <a:gd name="connsiteX23" fmla="*/ 1677 w 9991"/>
                    <a:gd name="connsiteY23" fmla="*/ 6559 h 9990"/>
                    <a:gd name="connsiteX24" fmla="*/ 2128 w 9991"/>
                    <a:gd name="connsiteY24" fmla="*/ 6798 h 9990"/>
                    <a:gd name="connsiteX25" fmla="*/ 2552 w 9991"/>
                    <a:gd name="connsiteY25" fmla="*/ 7079 h 9990"/>
                    <a:gd name="connsiteX26" fmla="*/ 2958 w 9991"/>
                    <a:gd name="connsiteY26" fmla="*/ 7432 h 9990"/>
                    <a:gd name="connsiteX27" fmla="*/ 3336 w 9991"/>
                    <a:gd name="connsiteY27" fmla="*/ 7817 h 9990"/>
                    <a:gd name="connsiteX28" fmla="*/ 3679 w 9991"/>
                    <a:gd name="connsiteY28" fmla="*/ 8233 h 9990"/>
                    <a:gd name="connsiteX29" fmla="*/ 4022 w 9991"/>
                    <a:gd name="connsiteY29" fmla="*/ 8701 h 9990"/>
                    <a:gd name="connsiteX30" fmla="*/ 2218 w 9991"/>
                    <a:gd name="connsiteY30" fmla="*/ 9969 h 999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</a:cxnLst>
                  <a:rect l="l" t="t" r="r" b="b"/>
                  <a:pathLst>
                    <a:path w="9991" h="9990">
                      <a:moveTo>
                        <a:pt x="2218" y="9969"/>
                      </a:moveTo>
                      <a:lnTo>
                        <a:pt x="7565" y="9990"/>
                      </a:lnTo>
                      <a:lnTo>
                        <a:pt x="8422" y="8170"/>
                      </a:lnTo>
                      <a:lnTo>
                        <a:pt x="9225" y="6351"/>
                      </a:lnTo>
                      <a:lnTo>
                        <a:pt x="9991" y="4459"/>
                      </a:lnTo>
                      <a:lnTo>
                        <a:pt x="8386" y="5603"/>
                      </a:lnTo>
                      <a:lnTo>
                        <a:pt x="7980" y="4896"/>
                      </a:lnTo>
                      <a:lnTo>
                        <a:pt x="7547" y="4220"/>
                      </a:lnTo>
                      <a:lnTo>
                        <a:pt x="7060" y="3576"/>
                      </a:lnTo>
                      <a:lnTo>
                        <a:pt x="6528" y="2983"/>
                      </a:lnTo>
                      <a:lnTo>
                        <a:pt x="5978" y="2443"/>
                      </a:lnTo>
                      <a:lnTo>
                        <a:pt x="5392" y="1954"/>
                      </a:lnTo>
                      <a:lnTo>
                        <a:pt x="4779" y="1507"/>
                      </a:lnTo>
                      <a:lnTo>
                        <a:pt x="4148" y="1112"/>
                      </a:lnTo>
                      <a:lnTo>
                        <a:pt x="3490" y="780"/>
                      </a:lnTo>
                      <a:lnTo>
                        <a:pt x="2804" y="499"/>
                      </a:lnTo>
                      <a:lnTo>
                        <a:pt x="2128" y="281"/>
                      </a:lnTo>
                      <a:lnTo>
                        <a:pt x="1425" y="125"/>
                      </a:lnTo>
                      <a:lnTo>
                        <a:pt x="712" y="21"/>
                      </a:lnTo>
                      <a:lnTo>
                        <a:pt x="0" y="0"/>
                      </a:lnTo>
                      <a:lnTo>
                        <a:pt x="1894" y="2879"/>
                      </a:lnTo>
                      <a:lnTo>
                        <a:pt x="625" y="6191"/>
                      </a:lnTo>
                      <a:lnTo>
                        <a:pt x="1208" y="6383"/>
                      </a:lnTo>
                      <a:lnTo>
                        <a:pt x="1677" y="6559"/>
                      </a:lnTo>
                      <a:lnTo>
                        <a:pt x="2128" y="6798"/>
                      </a:lnTo>
                      <a:lnTo>
                        <a:pt x="2552" y="7079"/>
                      </a:lnTo>
                      <a:lnTo>
                        <a:pt x="2958" y="7432"/>
                      </a:lnTo>
                      <a:lnTo>
                        <a:pt x="3336" y="7817"/>
                      </a:lnTo>
                      <a:lnTo>
                        <a:pt x="3679" y="8233"/>
                      </a:lnTo>
                      <a:lnTo>
                        <a:pt x="4022" y="8701"/>
                      </a:lnTo>
                      <a:lnTo>
                        <a:pt x="2218" y="9969"/>
                      </a:lnTo>
                    </a:path>
                  </a:pathLst>
                </a:custGeom>
                <a:solidFill>
                  <a:srgbClr val="FFC000"/>
                </a:solidFill>
                <a:ln w="12700" cap="rnd">
                  <a:noFill/>
                  <a:round/>
                  <a:headEnd/>
                  <a:tailEnd/>
                </a:ln>
              </p:spPr>
              <p:txBody>
                <a:bodyPr anchor="ctr"/>
                <a:lstStyle/>
                <a:p>
                  <a:pPr algn="ctr">
                    <a:spcBef>
                      <a:spcPct val="20000"/>
                    </a:spcBef>
                    <a:defRPr/>
                  </a:pPr>
                  <a:endParaRPr lang="en-GB" sz="1050" b="1" dirty="0">
                    <a:solidFill>
                      <a:srgbClr val="FFFFFF"/>
                    </a:solidFill>
                    <a:ea typeface="+mn-ea"/>
                    <a:cs typeface="Arial" pitchFamily="34" charset="0"/>
                  </a:endParaRPr>
                </a:p>
              </p:txBody>
            </p:sp>
            <p:sp>
              <p:nvSpPr>
                <p:cNvPr id="676874" name="Rectangle 9"/>
                <p:cNvSpPr>
                  <a:spLocks noChangeArrowheads="1"/>
                </p:cNvSpPr>
                <p:nvPr/>
              </p:nvSpPr>
              <p:spPr bwMode="blackWhite">
                <a:xfrm>
                  <a:off x="6500102" y="2354792"/>
                  <a:ext cx="955698" cy="294369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  <p:txBody>
                <a:bodyPr lIns="0" tIns="0" rIns="0" bIns="0" anchor="ctr" anchorCtr="1">
                  <a:spAutoFit/>
                </a:bodyPr>
                <a:lstStyle/>
                <a:p>
                  <a:pPr algn="ctr" defTabSz="787400">
                    <a:lnSpc>
                      <a:spcPct val="95000"/>
                    </a:lnSpc>
                    <a:buClr>
                      <a:srgbClr val="002776"/>
                    </a:buClr>
                    <a:buFont typeface="Wingdings 2" pitchFamily="18" charset="2"/>
                    <a:buNone/>
                    <a:defRPr/>
                  </a:pPr>
                  <a:r>
                    <a:rPr lang="en-GB" sz="1400" b="1" dirty="0">
                      <a:ea typeface="+mn-ea"/>
                      <a:cs typeface="Arial" pitchFamily="34" charset="0"/>
                    </a:rPr>
                    <a:t>Analyze </a:t>
                  </a:r>
                </a:p>
                <a:p>
                  <a:pPr algn="ctr" defTabSz="787400">
                    <a:lnSpc>
                      <a:spcPct val="95000"/>
                    </a:lnSpc>
                    <a:buClr>
                      <a:srgbClr val="002776"/>
                    </a:buClr>
                    <a:buFont typeface="Wingdings 2" pitchFamily="18" charset="2"/>
                    <a:buNone/>
                    <a:defRPr/>
                  </a:pPr>
                  <a:r>
                    <a:rPr lang="en-GB" sz="1400" b="1" dirty="0">
                      <a:ea typeface="+mn-ea"/>
                      <a:cs typeface="Arial" pitchFamily="34" charset="0"/>
                    </a:rPr>
                    <a:t>Risk</a:t>
                  </a:r>
                </a:p>
              </p:txBody>
            </p:sp>
          </p:grpSp>
          <p:grpSp>
            <p:nvGrpSpPr>
              <p:cNvPr id="15378" name="Group 34"/>
              <p:cNvGrpSpPr>
                <a:grpSpLocks/>
              </p:cNvGrpSpPr>
              <p:nvPr/>
            </p:nvGrpSpPr>
            <p:grpSpPr bwMode="auto">
              <a:xfrm>
                <a:off x="6680771" y="2789500"/>
                <a:ext cx="1263656" cy="1767355"/>
                <a:chOff x="6680771" y="2789500"/>
                <a:chExt cx="1263656" cy="1767355"/>
              </a:xfrm>
            </p:grpSpPr>
            <p:sp>
              <p:nvSpPr>
                <p:cNvPr id="16" name="Freeform 2"/>
                <p:cNvSpPr>
                  <a:spLocks/>
                </p:cNvSpPr>
                <p:nvPr/>
              </p:nvSpPr>
              <p:spPr bwMode="blackWhite">
                <a:xfrm>
                  <a:off x="6680771" y="2789500"/>
                  <a:ext cx="1263656" cy="1767355"/>
                </a:xfrm>
                <a:custGeom>
                  <a:avLst/>
                  <a:gdLst>
                    <a:gd name="T0" fmla="*/ 461616 w 852"/>
                    <a:gd name="T1" fmla="*/ 1873218 h 1157"/>
                    <a:gd name="T2" fmla="*/ 1493670 w 852"/>
                    <a:gd name="T3" fmla="*/ 1852152 h 1157"/>
                    <a:gd name="T4" fmla="*/ 1172469 w 852"/>
                    <a:gd name="T5" fmla="*/ 1672284 h 1157"/>
                    <a:gd name="T6" fmla="*/ 1233901 w 852"/>
                    <a:gd name="T7" fmla="*/ 1552372 h 1157"/>
                    <a:gd name="T8" fmla="*/ 1286557 w 852"/>
                    <a:gd name="T9" fmla="*/ 1429219 h 1157"/>
                    <a:gd name="T10" fmla="*/ 1330437 w 852"/>
                    <a:gd name="T11" fmla="*/ 1302826 h 1157"/>
                    <a:gd name="T12" fmla="*/ 1360275 w 852"/>
                    <a:gd name="T13" fmla="*/ 1171571 h 1157"/>
                    <a:gd name="T14" fmla="*/ 1386603 w 852"/>
                    <a:gd name="T15" fmla="*/ 1040316 h 1157"/>
                    <a:gd name="T16" fmla="*/ 1400645 w 852"/>
                    <a:gd name="T17" fmla="*/ 909061 h 1157"/>
                    <a:gd name="T18" fmla="*/ 1405910 w 852"/>
                    <a:gd name="T19" fmla="*/ 774566 h 1157"/>
                    <a:gd name="T20" fmla="*/ 1400645 w 852"/>
                    <a:gd name="T21" fmla="*/ 640070 h 1157"/>
                    <a:gd name="T22" fmla="*/ 1384848 w 852"/>
                    <a:gd name="T23" fmla="*/ 508815 h 1157"/>
                    <a:gd name="T24" fmla="*/ 1360275 w 852"/>
                    <a:gd name="T25" fmla="*/ 377560 h 1157"/>
                    <a:gd name="T26" fmla="*/ 1326926 w 852"/>
                    <a:gd name="T27" fmla="*/ 247926 h 1157"/>
                    <a:gd name="T28" fmla="*/ 1281291 w 852"/>
                    <a:gd name="T29" fmla="*/ 121532 h 1157"/>
                    <a:gd name="T30" fmla="*/ 1230391 w 852"/>
                    <a:gd name="T31" fmla="*/ 0 h 1157"/>
                    <a:gd name="T32" fmla="*/ 956581 w 852"/>
                    <a:gd name="T33" fmla="*/ 479647 h 1157"/>
                    <a:gd name="T34" fmla="*/ 365080 w 852"/>
                    <a:gd name="T35" fmla="*/ 471545 h 1157"/>
                    <a:gd name="T36" fmla="*/ 389653 w 852"/>
                    <a:gd name="T37" fmla="*/ 559048 h 1157"/>
                    <a:gd name="T38" fmla="*/ 405450 w 852"/>
                    <a:gd name="T39" fmla="*/ 651413 h 1157"/>
                    <a:gd name="T40" fmla="*/ 412470 w 852"/>
                    <a:gd name="T41" fmla="*/ 743777 h 1157"/>
                    <a:gd name="T42" fmla="*/ 410715 w 852"/>
                    <a:gd name="T43" fmla="*/ 832901 h 1157"/>
                    <a:gd name="T44" fmla="*/ 401939 w 852"/>
                    <a:gd name="T45" fmla="*/ 925266 h 1157"/>
                    <a:gd name="T46" fmla="*/ 380877 w 852"/>
                    <a:gd name="T47" fmla="*/ 1016010 h 1157"/>
                    <a:gd name="T48" fmla="*/ 356304 w 852"/>
                    <a:gd name="T49" fmla="*/ 1106754 h 1157"/>
                    <a:gd name="T50" fmla="*/ 317690 w 852"/>
                    <a:gd name="T51" fmla="*/ 1189396 h 1157"/>
                    <a:gd name="T52" fmla="*/ 0 w 852"/>
                    <a:gd name="T53" fmla="*/ 1017630 h 1157"/>
                    <a:gd name="T54" fmla="*/ 461616 w 852"/>
                    <a:gd name="T55" fmla="*/ 1873218 h 1157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w 852"/>
                    <a:gd name="T85" fmla="*/ 0 h 1157"/>
                    <a:gd name="T86" fmla="*/ 852 w 852"/>
                    <a:gd name="T87" fmla="*/ 1157 h 1157"/>
                  </a:gdLst>
                  <a:ahLst/>
                  <a:cxnLst>
                    <a:cxn ang="T56">
                      <a:pos x="T0" y="T1"/>
                    </a:cxn>
                    <a:cxn ang="T57">
                      <a:pos x="T2" y="T3"/>
                    </a:cxn>
                    <a:cxn ang="T58">
                      <a:pos x="T4" y="T5"/>
                    </a:cxn>
                    <a:cxn ang="T59">
                      <a:pos x="T6" y="T7"/>
                    </a:cxn>
                    <a:cxn ang="T60">
                      <a:pos x="T8" y="T9"/>
                    </a:cxn>
                    <a:cxn ang="T61">
                      <a:pos x="T10" y="T11"/>
                    </a:cxn>
                    <a:cxn ang="T62">
                      <a:pos x="T12" y="T13"/>
                    </a:cxn>
                    <a:cxn ang="T63">
                      <a:pos x="T14" y="T15"/>
                    </a:cxn>
                    <a:cxn ang="T64">
                      <a:pos x="T16" y="T17"/>
                    </a:cxn>
                    <a:cxn ang="T65">
                      <a:pos x="T18" y="T19"/>
                    </a:cxn>
                    <a:cxn ang="T66">
                      <a:pos x="T20" y="T21"/>
                    </a:cxn>
                    <a:cxn ang="T67">
                      <a:pos x="T22" y="T23"/>
                    </a:cxn>
                    <a:cxn ang="T68">
                      <a:pos x="T24" y="T25"/>
                    </a:cxn>
                    <a:cxn ang="T69">
                      <a:pos x="T26" y="T27"/>
                    </a:cxn>
                    <a:cxn ang="T70">
                      <a:pos x="T28" y="T29"/>
                    </a:cxn>
                    <a:cxn ang="T71">
                      <a:pos x="T30" y="T31"/>
                    </a:cxn>
                    <a:cxn ang="T72">
                      <a:pos x="T32" y="T33"/>
                    </a:cxn>
                    <a:cxn ang="T73">
                      <a:pos x="T34" y="T35"/>
                    </a:cxn>
                    <a:cxn ang="T74">
                      <a:pos x="T36" y="T37"/>
                    </a:cxn>
                    <a:cxn ang="T75">
                      <a:pos x="T38" y="T39"/>
                    </a:cxn>
                    <a:cxn ang="T76">
                      <a:pos x="T40" y="T41"/>
                    </a:cxn>
                    <a:cxn ang="T77">
                      <a:pos x="T42" y="T43"/>
                    </a:cxn>
                    <a:cxn ang="T78">
                      <a:pos x="T44" y="T45"/>
                    </a:cxn>
                    <a:cxn ang="T79">
                      <a:pos x="T46" y="T47"/>
                    </a:cxn>
                    <a:cxn ang="T80">
                      <a:pos x="T48" y="T49"/>
                    </a:cxn>
                    <a:cxn ang="T81">
                      <a:pos x="T50" y="T51"/>
                    </a:cxn>
                    <a:cxn ang="T82">
                      <a:pos x="T52" y="T53"/>
                    </a:cxn>
                    <a:cxn ang="T83">
                      <a:pos x="T54" y="T55"/>
                    </a:cxn>
                  </a:cxnLst>
                  <a:rect l="T84" t="T85" r="T86" b="T87"/>
                  <a:pathLst>
                    <a:path w="852" h="1157">
                      <a:moveTo>
                        <a:pt x="263" y="1156"/>
                      </a:moveTo>
                      <a:lnTo>
                        <a:pt x="851" y="1143"/>
                      </a:lnTo>
                      <a:lnTo>
                        <a:pt x="668" y="1032"/>
                      </a:lnTo>
                      <a:lnTo>
                        <a:pt x="703" y="958"/>
                      </a:lnTo>
                      <a:lnTo>
                        <a:pt x="733" y="882"/>
                      </a:lnTo>
                      <a:lnTo>
                        <a:pt x="758" y="804"/>
                      </a:lnTo>
                      <a:lnTo>
                        <a:pt x="775" y="723"/>
                      </a:lnTo>
                      <a:lnTo>
                        <a:pt x="790" y="642"/>
                      </a:lnTo>
                      <a:lnTo>
                        <a:pt x="798" y="561"/>
                      </a:lnTo>
                      <a:lnTo>
                        <a:pt x="801" y="478"/>
                      </a:lnTo>
                      <a:lnTo>
                        <a:pt x="798" y="395"/>
                      </a:lnTo>
                      <a:lnTo>
                        <a:pt x="789" y="314"/>
                      </a:lnTo>
                      <a:lnTo>
                        <a:pt x="775" y="233"/>
                      </a:lnTo>
                      <a:lnTo>
                        <a:pt x="756" y="153"/>
                      </a:lnTo>
                      <a:lnTo>
                        <a:pt x="730" y="75"/>
                      </a:lnTo>
                      <a:lnTo>
                        <a:pt x="701" y="0"/>
                      </a:lnTo>
                      <a:lnTo>
                        <a:pt x="545" y="296"/>
                      </a:lnTo>
                      <a:lnTo>
                        <a:pt x="208" y="291"/>
                      </a:lnTo>
                      <a:lnTo>
                        <a:pt x="222" y="345"/>
                      </a:lnTo>
                      <a:lnTo>
                        <a:pt x="231" y="402"/>
                      </a:lnTo>
                      <a:lnTo>
                        <a:pt x="235" y="459"/>
                      </a:lnTo>
                      <a:lnTo>
                        <a:pt x="234" y="514"/>
                      </a:lnTo>
                      <a:lnTo>
                        <a:pt x="229" y="571"/>
                      </a:lnTo>
                      <a:lnTo>
                        <a:pt x="217" y="627"/>
                      </a:lnTo>
                      <a:lnTo>
                        <a:pt x="203" y="683"/>
                      </a:lnTo>
                      <a:lnTo>
                        <a:pt x="181" y="734"/>
                      </a:lnTo>
                      <a:lnTo>
                        <a:pt x="0" y="628"/>
                      </a:lnTo>
                      <a:lnTo>
                        <a:pt x="263" y="1156"/>
                      </a:lnTo>
                    </a:path>
                  </a:pathLst>
                </a:custGeom>
                <a:solidFill>
                  <a:srgbClr val="FFC000"/>
                </a:solidFill>
                <a:ln w="12700" cap="rnd">
                  <a:noFill/>
                  <a:round/>
                  <a:headEnd/>
                  <a:tailEnd/>
                </a:ln>
              </p:spPr>
              <p:txBody>
                <a:bodyPr anchor="ctr"/>
                <a:lstStyle/>
                <a:p>
                  <a:pPr algn="ctr">
                    <a:spcBef>
                      <a:spcPct val="20000"/>
                    </a:spcBef>
                    <a:defRPr/>
                  </a:pPr>
                  <a:endParaRPr lang="en-GB" sz="1050" b="1" dirty="0">
                    <a:solidFill>
                      <a:srgbClr val="FFFFFF"/>
                    </a:solidFill>
                    <a:ea typeface="+mn-ea"/>
                    <a:cs typeface="Arial" pitchFamily="34" charset="0"/>
                  </a:endParaRPr>
                </a:p>
              </p:txBody>
            </p:sp>
            <p:sp>
              <p:nvSpPr>
                <p:cNvPr id="676875" name="Rectangle 10"/>
                <p:cNvSpPr>
                  <a:spLocks noChangeArrowheads="1"/>
                </p:cNvSpPr>
                <p:nvPr/>
              </p:nvSpPr>
              <p:spPr bwMode="blackWhite">
                <a:xfrm>
                  <a:off x="6937403" y="3614501"/>
                  <a:ext cx="958777" cy="294202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  <p:txBody>
                <a:bodyPr lIns="0" tIns="0" rIns="0" bIns="0" anchor="ctr" anchorCtr="1">
                  <a:spAutoFit/>
                </a:bodyPr>
                <a:lstStyle/>
                <a:p>
                  <a:pPr algn="ctr" defTabSz="787400">
                    <a:lnSpc>
                      <a:spcPct val="95000"/>
                    </a:lnSpc>
                    <a:buClr>
                      <a:srgbClr val="002776"/>
                    </a:buClr>
                    <a:buFont typeface="Wingdings 2" pitchFamily="18" charset="2"/>
                    <a:buNone/>
                    <a:defRPr/>
                  </a:pPr>
                  <a:r>
                    <a:rPr lang="en-GB" sz="1400" b="1" dirty="0">
                      <a:ea typeface="+mn-ea"/>
                      <a:cs typeface="Arial" pitchFamily="34" charset="0"/>
                    </a:rPr>
                    <a:t>Develop</a:t>
                  </a:r>
                </a:p>
                <a:p>
                  <a:pPr algn="ctr" defTabSz="787400">
                    <a:lnSpc>
                      <a:spcPct val="95000"/>
                    </a:lnSpc>
                    <a:buClr>
                      <a:srgbClr val="002776"/>
                    </a:buClr>
                    <a:buFont typeface="Wingdings 2" pitchFamily="18" charset="2"/>
                    <a:buNone/>
                    <a:defRPr/>
                  </a:pPr>
                  <a:r>
                    <a:rPr lang="en-GB" sz="1400" b="1" dirty="0">
                      <a:ea typeface="+mn-ea"/>
                      <a:cs typeface="Arial" pitchFamily="34" charset="0"/>
                    </a:rPr>
                    <a:t>Issues</a:t>
                  </a:r>
                </a:p>
              </p:txBody>
            </p:sp>
          </p:grpSp>
          <p:grpSp>
            <p:nvGrpSpPr>
              <p:cNvPr id="15379" name="Group 35"/>
              <p:cNvGrpSpPr>
                <a:grpSpLocks/>
              </p:cNvGrpSpPr>
              <p:nvPr/>
            </p:nvGrpSpPr>
            <p:grpSpPr bwMode="auto">
              <a:xfrm>
                <a:off x="5891493" y="4080234"/>
                <a:ext cx="1653389" cy="1593241"/>
                <a:chOff x="5891493" y="4080234"/>
                <a:chExt cx="1653389" cy="1593241"/>
              </a:xfrm>
            </p:grpSpPr>
            <p:sp>
              <p:nvSpPr>
                <p:cNvPr id="19" name="Freeform 5"/>
                <p:cNvSpPr>
                  <a:spLocks/>
                </p:cNvSpPr>
                <p:nvPr/>
              </p:nvSpPr>
              <p:spPr bwMode="blackWhite">
                <a:xfrm>
                  <a:off x="5891371" y="4079931"/>
                  <a:ext cx="1653736" cy="1593928"/>
                </a:xfrm>
                <a:custGeom>
                  <a:avLst/>
                  <a:gdLst>
                    <a:gd name="T0" fmla="*/ 0 w 1115"/>
                    <a:gd name="T1" fmla="*/ 857233 h 1059"/>
                    <a:gd name="T2" fmla="*/ 489786 w 1115"/>
                    <a:gd name="T3" fmla="*/ 1714467 h 1059"/>
                    <a:gd name="T4" fmla="*/ 489786 w 1115"/>
                    <a:gd name="T5" fmla="*/ 1320690 h 1059"/>
                    <a:gd name="T6" fmla="*/ 619693 w 1115"/>
                    <a:gd name="T7" fmla="*/ 1309347 h 1059"/>
                    <a:gd name="T8" fmla="*/ 753111 w 1115"/>
                    <a:gd name="T9" fmla="*/ 1288280 h 1059"/>
                    <a:gd name="T10" fmla="*/ 881263 w 1115"/>
                    <a:gd name="T11" fmla="*/ 1259112 h 1059"/>
                    <a:gd name="T12" fmla="*/ 1005904 w 1115"/>
                    <a:gd name="T13" fmla="*/ 1221841 h 1059"/>
                    <a:gd name="T14" fmla="*/ 1128789 w 1115"/>
                    <a:gd name="T15" fmla="*/ 1176467 h 1059"/>
                    <a:gd name="T16" fmla="*/ 1249919 w 1115"/>
                    <a:gd name="T17" fmla="*/ 1122992 h 1059"/>
                    <a:gd name="T18" fmla="*/ 1365782 w 1115"/>
                    <a:gd name="T19" fmla="*/ 1061413 h 1059"/>
                    <a:gd name="T20" fmla="*/ 1479890 w 1115"/>
                    <a:gd name="T21" fmla="*/ 993353 h 1059"/>
                    <a:gd name="T22" fmla="*/ 1581709 w 1115"/>
                    <a:gd name="T23" fmla="*/ 913950 h 1059"/>
                    <a:gd name="T24" fmla="*/ 1687039 w 1115"/>
                    <a:gd name="T25" fmla="*/ 831306 h 1059"/>
                    <a:gd name="T26" fmla="*/ 1781836 w 1115"/>
                    <a:gd name="T27" fmla="*/ 738938 h 1059"/>
                    <a:gd name="T28" fmla="*/ 1874878 w 1115"/>
                    <a:gd name="T29" fmla="*/ 640089 h 1059"/>
                    <a:gd name="T30" fmla="*/ 1955631 w 1115"/>
                    <a:gd name="T31" fmla="*/ 539619 h 1059"/>
                    <a:gd name="T32" fmla="*/ 1362271 w 1115"/>
                    <a:gd name="T33" fmla="*/ 570408 h 1059"/>
                    <a:gd name="T34" fmla="*/ 1093679 w 1115"/>
                    <a:gd name="T35" fmla="*/ 58337 h 1059"/>
                    <a:gd name="T36" fmla="*/ 1037503 w 1115"/>
                    <a:gd name="T37" fmla="*/ 111813 h 1059"/>
                    <a:gd name="T38" fmla="*/ 977816 w 1115"/>
                    <a:gd name="T39" fmla="*/ 158807 h 1059"/>
                    <a:gd name="T40" fmla="*/ 905840 w 1115"/>
                    <a:gd name="T41" fmla="*/ 207421 h 1059"/>
                    <a:gd name="T42" fmla="*/ 828598 w 1115"/>
                    <a:gd name="T43" fmla="*/ 254415 h 1059"/>
                    <a:gd name="T44" fmla="*/ 746089 w 1115"/>
                    <a:gd name="T45" fmla="*/ 288445 h 1059"/>
                    <a:gd name="T46" fmla="*/ 665336 w 1115"/>
                    <a:gd name="T47" fmla="*/ 319234 h 1059"/>
                    <a:gd name="T48" fmla="*/ 579316 w 1115"/>
                    <a:gd name="T49" fmla="*/ 341921 h 1059"/>
                    <a:gd name="T50" fmla="*/ 489786 w 1115"/>
                    <a:gd name="T51" fmla="*/ 356505 h 1059"/>
                    <a:gd name="T52" fmla="*/ 489786 w 1115"/>
                    <a:gd name="T53" fmla="*/ 0 h 1059"/>
                    <a:gd name="T54" fmla="*/ 0 w 1115"/>
                    <a:gd name="T55" fmla="*/ 857233 h 1059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w 1115"/>
                    <a:gd name="T85" fmla="*/ 0 h 1059"/>
                    <a:gd name="T86" fmla="*/ 1115 w 1115"/>
                    <a:gd name="T87" fmla="*/ 1059 h 1059"/>
                  </a:gdLst>
                  <a:ahLst/>
                  <a:cxnLst>
                    <a:cxn ang="T56">
                      <a:pos x="T0" y="T1"/>
                    </a:cxn>
                    <a:cxn ang="T57">
                      <a:pos x="T2" y="T3"/>
                    </a:cxn>
                    <a:cxn ang="T58">
                      <a:pos x="T4" y="T5"/>
                    </a:cxn>
                    <a:cxn ang="T59">
                      <a:pos x="T6" y="T7"/>
                    </a:cxn>
                    <a:cxn ang="T60">
                      <a:pos x="T8" y="T9"/>
                    </a:cxn>
                    <a:cxn ang="T61">
                      <a:pos x="T10" y="T11"/>
                    </a:cxn>
                    <a:cxn ang="T62">
                      <a:pos x="T12" y="T13"/>
                    </a:cxn>
                    <a:cxn ang="T63">
                      <a:pos x="T14" y="T15"/>
                    </a:cxn>
                    <a:cxn ang="T64">
                      <a:pos x="T16" y="T17"/>
                    </a:cxn>
                    <a:cxn ang="T65">
                      <a:pos x="T18" y="T19"/>
                    </a:cxn>
                    <a:cxn ang="T66">
                      <a:pos x="T20" y="T21"/>
                    </a:cxn>
                    <a:cxn ang="T67">
                      <a:pos x="T22" y="T23"/>
                    </a:cxn>
                    <a:cxn ang="T68">
                      <a:pos x="T24" y="T25"/>
                    </a:cxn>
                    <a:cxn ang="T69">
                      <a:pos x="T26" y="T27"/>
                    </a:cxn>
                    <a:cxn ang="T70">
                      <a:pos x="T28" y="T29"/>
                    </a:cxn>
                    <a:cxn ang="T71">
                      <a:pos x="T30" y="T31"/>
                    </a:cxn>
                    <a:cxn ang="T72">
                      <a:pos x="T32" y="T33"/>
                    </a:cxn>
                    <a:cxn ang="T73">
                      <a:pos x="T34" y="T35"/>
                    </a:cxn>
                    <a:cxn ang="T74">
                      <a:pos x="T36" y="T37"/>
                    </a:cxn>
                    <a:cxn ang="T75">
                      <a:pos x="T38" y="T39"/>
                    </a:cxn>
                    <a:cxn ang="T76">
                      <a:pos x="T40" y="T41"/>
                    </a:cxn>
                    <a:cxn ang="T77">
                      <a:pos x="T42" y="T43"/>
                    </a:cxn>
                    <a:cxn ang="T78">
                      <a:pos x="T44" y="T45"/>
                    </a:cxn>
                    <a:cxn ang="T79">
                      <a:pos x="T46" y="T47"/>
                    </a:cxn>
                    <a:cxn ang="T80">
                      <a:pos x="T48" y="T49"/>
                    </a:cxn>
                    <a:cxn ang="T81">
                      <a:pos x="T50" y="T51"/>
                    </a:cxn>
                    <a:cxn ang="T82">
                      <a:pos x="T52" y="T53"/>
                    </a:cxn>
                    <a:cxn ang="T83">
                      <a:pos x="T54" y="T55"/>
                    </a:cxn>
                  </a:cxnLst>
                  <a:rect l="T84" t="T85" r="T86" b="T87"/>
                  <a:pathLst>
                    <a:path w="1115" h="1059">
                      <a:moveTo>
                        <a:pt x="0" y="529"/>
                      </a:moveTo>
                      <a:lnTo>
                        <a:pt x="279" y="1058"/>
                      </a:lnTo>
                      <a:lnTo>
                        <a:pt x="279" y="815"/>
                      </a:lnTo>
                      <a:lnTo>
                        <a:pt x="353" y="808"/>
                      </a:lnTo>
                      <a:lnTo>
                        <a:pt x="429" y="795"/>
                      </a:lnTo>
                      <a:lnTo>
                        <a:pt x="502" y="777"/>
                      </a:lnTo>
                      <a:lnTo>
                        <a:pt x="573" y="754"/>
                      </a:lnTo>
                      <a:lnTo>
                        <a:pt x="643" y="726"/>
                      </a:lnTo>
                      <a:lnTo>
                        <a:pt x="712" y="693"/>
                      </a:lnTo>
                      <a:lnTo>
                        <a:pt x="778" y="655"/>
                      </a:lnTo>
                      <a:lnTo>
                        <a:pt x="843" y="613"/>
                      </a:lnTo>
                      <a:lnTo>
                        <a:pt x="901" y="564"/>
                      </a:lnTo>
                      <a:lnTo>
                        <a:pt x="961" y="513"/>
                      </a:lnTo>
                      <a:lnTo>
                        <a:pt x="1015" y="456"/>
                      </a:lnTo>
                      <a:lnTo>
                        <a:pt x="1068" y="395"/>
                      </a:lnTo>
                      <a:lnTo>
                        <a:pt x="1114" y="333"/>
                      </a:lnTo>
                      <a:lnTo>
                        <a:pt x="776" y="352"/>
                      </a:lnTo>
                      <a:lnTo>
                        <a:pt x="623" y="36"/>
                      </a:lnTo>
                      <a:lnTo>
                        <a:pt x="591" y="69"/>
                      </a:lnTo>
                      <a:lnTo>
                        <a:pt x="557" y="98"/>
                      </a:lnTo>
                      <a:lnTo>
                        <a:pt x="516" y="128"/>
                      </a:lnTo>
                      <a:lnTo>
                        <a:pt x="472" y="157"/>
                      </a:lnTo>
                      <a:lnTo>
                        <a:pt x="425" y="178"/>
                      </a:lnTo>
                      <a:lnTo>
                        <a:pt x="379" y="197"/>
                      </a:lnTo>
                      <a:lnTo>
                        <a:pt x="330" y="211"/>
                      </a:lnTo>
                      <a:lnTo>
                        <a:pt x="279" y="220"/>
                      </a:lnTo>
                      <a:lnTo>
                        <a:pt x="279" y="0"/>
                      </a:lnTo>
                      <a:lnTo>
                        <a:pt x="0" y="529"/>
                      </a:lnTo>
                    </a:path>
                  </a:pathLst>
                </a:custGeom>
                <a:solidFill>
                  <a:srgbClr val="FFC000"/>
                </a:solidFill>
                <a:ln w="12700" cap="rnd">
                  <a:noFill/>
                  <a:round/>
                  <a:headEnd/>
                  <a:tailEnd/>
                </a:ln>
              </p:spPr>
              <p:txBody>
                <a:bodyPr anchor="ctr"/>
                <a:lstStyle/>
                <a:p>
                  <a:pPr algn="ctr">
                    <a:spcBef>
                      <a:spcPct val="20000"/>
                    </a:spcBef>
                    <a:defRPr/>
                  </a:pPr>
                  <a:endParaRPr lang="en-GB" sz="1050" b="1" dirty="0">
                    <a:solidFill>
                      <a:srgbClr val="FFFFFF"/>
                    </a:solidFill>
                    <a:ea typeface="+mn-ea"/>
                    <a:cs typeface="Arial" pitchFamily="34" charset="0"/>
                  </a:endParaRPr>
                </a:p>
              </p:txBody>
            </p:sp>
            <p:sp>
              <p:nvSpPr>
                <p:cNvPr id="676876" name="Rectangle 11"/>
                <p:cNvSpPr>
                  <a:spLocks noChangeArrowheads="1"/>
                </p:cNvSpPr>
                <p:nvPr/>
              </p:nvSpPr>
              <p:spPr bwMode="blackWhite">
                <a:xfrm>
                  <a:off x="6143897" y="4707462"/>
                  <a:ext cx="956724" cy="147185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  <p:txBody>
                <a:bodyPr lIns="0" tIns="0" rIns="0" bIns="0" anchor="ctr" anchorCtr="1">
                  <a:spAutoFit/>
                </a:bodyPr>
                <a:lstStyle/>
                <a:p>
                  <a:pPr algn="ctr" defTabSz="787400">
                    <a:lnSpc>
                      <a:spcPct val="95000"/>
                    </a:lnSpc>
                    <a:spcBef>
                      <a:spcPct val="80000"/>
                    </a:spcBef>
                    <a:buClr>
                      <a:srgbClr val="002776"/>
                    </a:buClr>
                    <a:buFont typeface="Wingdings 2" pitchFamily="18" charset="2"/>
                    <a:buNone/>
                    <a:defRPr/>
                  </a:pPr>
                  <a:r>
                    <a:rPr lang="en-GB" sz="1400" b="1" dirty="0">
                      <a:ea typeface="+mn-ea"/>
                      <a:cs typeface="Arial" pitchFamily="34" charset="0"/>
                    </a:rPr>
                    <a:t>Build Campaigns</a:t>
                  </a:r>
                </a:p>
              </p:txBody>
            </p:sp>
          </p:grpSp>
          <p:grpSp>
            <p:nvGrpSpPr>
              <p:cNvPr id="15380" name="Group 78"/>
              <p:cNvGrpSpPr>
                <a:grpSpLocks/>
              </p:cNvGrpSpPr>
              <p:nvPr/>
            </p:nvGrpSpPr>
            <p:grpSpPr bwMode="auto">
              <a:xfrm>
                <a:off x="4273909" y="2680053"/>
                <a:ext cx="1435415" cy="1634347"/>
                <a:chOff x="4273909" y="2680053"/>
                <a:chExt cx="1435415" cy="1634347"/>
              </a:xfrm>
            </p:grpSpPr>
            <p:sp>
              <p:nvSpPr>
                <p:cNvPr id="21" name="Freeform 7"/>
                <p:cNvSpPr>
                  <a:spLocks/>
                </p:cNvSpPr>
                <p:nvPr/>
              </p:nvSpPr>
              <p:spPr bwMode="blackWhite">
                <a:xfrm rot="120000">
                  <a:off x="4273563" y="2679967"/>
                  <a:ext cx="1436112" cy="1635002"/>
                </a:xfrm>
                <a:custGeom>
                  <a:avLst/>
                  <a:gdLst>
                    <a:gd name="T0" fmla="*/ 2147483647 w 866"/>
                    <a:gd name="T1" fmla="*/ 0 h 1055"/>
                    <a:gd name="T2" fmla="*/ 0 w 866"/>
                    <a:gd name="T3" fmla="*/ 2147483647 h 1055"/>
                    <a:gd name="T4" fmla="*/ 2147483647 w 866"/>
                    <a:gd name="T5" fmla="*/ 2147483647 h 1055"/>
                    <a:gd name="T6" fmla="*/ 2147483647 w 866"/>
                    <a:gd name="T7" fmla="*/ 2147483647 h 1055"/>
                    <a:gd name="T8" fmla="*/ 2147483647 w 866"/>
                    <a:gd name="T9" fmla="*/ 2147483647 h 1055"/>
                    <a:gd name="T10" fmla="*/ 2147483647 w 866"/>
                    <a:gd name="T11" fmla="*/ 2147483647 h 1055"/>
                    <a:gd name="T12" fmla="*/ 2147483647 w 866"/>
                    <a:gd name="T13" fmla="*/ 2147483647 h 1055"/>
                    <a:gd name="T14" fmla="*/ 2147483647 w 866"/>
                    <a:gd name="T15" fmla="*/ 2147483647 h 1055"/>
                    <a:gd name="T16" fmla="*/ 2147483647 w 866"/>
                    <a:gd name="T17" fmla="*/ 2147483647 h 1055"/>
                    <a:gd name="T18" fmla="*/ 2147483647 w 866"/>
                    <a:gd name="T19" fmla="*/ 2147483647 h 1055"/>
                    <a:gd name="T20" fmla="*/ 2147483647 w 866"/>
                    <a:gd name="T21" fmla="*/ 2147483647 h 1055"/>
                    <a:gd name="T22" fmla="*/ 2147483647 w 866"/>
                    <a:gd name="T23" fmla="*/ 2147483647 h 1055"/>
                    <a:gd name="T24" fmla="*/ 2147483647 w 866"/>
                    <a:gd name="T25" fmla="*/ 2147483647 h 1055"/>
                    <a:gd name="T26" fmla="*/ 2147483647 w 866"/>
                    <a:gd name="T27" fmla="*/ 2147483647 h 1055"/>
                    <a:gd name="T28" fmla="*/ 2147483647 w 866"/>
                    <a:gd name="T29" fmla="*/ 2147483647 h 1055"/>
                    <a:gd name="T30" fmla="*/ 2147483647 w 866"/>
                    <a:gd name="T31" fmla="*/ 2147483647 h 1055"/>
                    <a:gd name="T32" fmla="*/ 2147483647 w 866"/>
                    <a:gd name="T33" fmla="*/ 2147483647 h 1055"/>
                    <a:gd name="T34" fmla="*/ 2147483647 w 866"/>
                    <a:gd name="T35" fmla="*/ 2147483647 h 1055"/>
                    <a:gd name="T36" fmla="*/ 2147483647 w 866"/>
                    <a:gd name="T37" fmla="*/ 2147483647 h 1055"/>
                    <a:gd name="T38" fmla="*/ 2147483647 w 866"/>
                    <a:gd name="T39" fmla="*/ 2147483647 h 1055"/>
                    <a:gd name="T40" fmla="*/ 2147483647 w 866"/>
                    <a:gd name="T41" fmla="*/ 2147483647 h 1055"/>
                    <a:gd name="T42" fmla="*/ 2147483647 w 866"/>
                    <a:gd name="T43" fmla="*/ 2147483647 h 1055"/>
                    <a:gd name="T44" fmla="*/ 2147483647 w 866"/>
                    <a:gd name="T45" fmla="*/ 2147483647 h 1055"/>
                    <a:gd name="T46" fmla="*/ 2147483647 w 866"/>
                    <a:gd name="T47" fmla="*/ 2147483647 h 1055"/>
                    <a:gd name="T48" fmla="*/ 2147483647 w 866"/>
                    <a:gd name="T49" fmla="*/ 2147483647 h 1055"/>
                    <a:gd name="T50" fmla="*/ 2147483647 w 866"/>
                    <a:gd name="T51" fmla="*/ 0 h 1055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w 866"/>
                    <a:gd name="T79" fmla="*/ 0 h 1055"/>
                    <a:gd name="T80" fmla="*/ 866 w 866"/>
                    <a:gd name="T81" fmla="*/ 1055 h 1055"/>
                    <a:gd name="connsiteX0" fmla="*/ 571 w 865"/>
                    <a:gd name="connsiteY0" fmla="*/ 0 h 1125"/>
                    <a:gd name="connsiteX1" fmla="*/ 0 w 865"/>
                    <a:gd name="connsiteY1" fmla="*/ 1 h 1125"/>
                    <a:gd name="connsiteX2" fmla="*/ 178 w 865"/>
                    <a:gd name="connsiteY2" fmla="*/ 111 h 1125"/>
                    <a:gd name="connsiteX3" fmla="*/ 153 w 865"/>
                    <a:gd name="connsiteY3" fmla="*/ 187 h 1125"/>
                    <a:gd name="connsiteX4" fmla="*/ 130 w 865"/>
                    <a:gd name="connsiteY4" fmla="*/ 264 h 1125"/>
                    <a:gd name="connsiteX5" fmla="*/ 113 w 865"/>
                    <a:gd name="connsiteY5" fmla="*/ 343 h 1125"/>
                    <a:gd name="connsiteX6" fmla="*/ 100 w 865"/>
                    <a:gd name="connsiteY6" fmla="*/ 423 h 1125"/>
                    <a:gd name="connsiteX7" fmla="*/ 94 w 865"/>
                    <a:gd name="connsiteY7" fmla="*/ 504 h 1125"/>
                    <a:gd name="connsiteX8" fmla="*/ 93 w 865"/>
                    <a:gd name="connsiteY8" fmla="*/ 583 h 1125"/>
                    <a:gd name="connsiteX9" fmla="*/ 95 w 865"/>
                    <a:gd name="connsiteY9" fmla="*/ 664 h 1125"/>
                    <a:gd name="connsiteX10" fmla="*/ 104 w 865"/>
                    <a:gd name="connsiteY10" fmla="*/ 744 h 1125"/>
                    <a:gd name="connsiteX11" fmla="*/ 118 w 865"/>
                    <a:gd name="connsiteY11" fmla="*/ 824 h 1125"/>
                    <a:gd name="connsiteX12" fmla="*/ 136 w 865"/>
                    <a:gd name="connsiteY12" fmla="*/ 903 h 1125"/>
                    <a:gd name="connsiteX13" fmla="*/ 159 w 865"/>
                    <a:gd name="connsiteY13" fmla="*/ 979 h 1125"/>
                    <a:gd name="connsiteX14" fmla="*/ 227 w 865"/>
                    <a:gd name="connsiteY14" fmla="*/ 1125 h 1125"/>
                    <a:gd name="connsiteX15" fmla="*/ 412 w 865"/>
                    <a:gd name="connsiteY15" fmla="*/ 766 h 1125"/>
                    <a:gd name="connsiteX16" fmla="*/ 702 w 865"/>
                    <a:gd name="connsiteY16" fmla="*/ 816 h 1125"/>
                    <a:gd name="connsiteX17" fmla="*/ 681 w 865"/>
                    <a:gd name="connsiteY17" fmla="*/ 760 h 1125"/>
                    <a:gd name="connsiteX18" fmla="*/ 666 w 865"/>
                    <a:gd name="connsiteY18" fmla="*/ 705 h 1125"/>
                    <a:gd name="connsiteX19" fmla="*/ 658 w 865"/>
                    <a:gd name="connsiteY19" fmla="*/ 647 h 1125"/>
                    <a:gd name="connsiteX20" fmla="*/ 652 w 865"/>
                    <a:gd name="connsiteY20" fmla="*/ 588 h 1125"/>
                    <a:gd name="connsiteX21" fmla="*/ 652 w 865"/>
                    <a:gd name="connsiteY21" fmla="*/ 529 h 1125"/>
                    <a:gd name="connsiteX22" fmla="*/ 660 w 865"/>
                    <a:gd name="connsiteY22" fmla="*/ 470 h 1125"/>
                    <a:gd name="connsiteX23" fmla="*/ 672 w 865"/>
                    <a:gd name="connsiteY23" fmla="*/ 413 h 1125"/>
                    <a:gd name="connsiteX24" fmla="*/ 865 w 865"/>
                    <a:gd name="connsiteY24" fmla="*/ 531 h 1125"/>
                    <a:gd name="connsiteX25" fmla="*/ 571 w 865"/>
                    <a:gd name="connsiteY25" fmla="*/ 0 h 1125"/>
                    <a:gd name="connsiteX0" fmla="*/ 571 w 865"/>
                    <a:gd name="connsiteY0" fmla="*/ 0 h 1125"/>
                    <a:gd name="connsiteX1" fmla="*/ 0 w 865"/>
                    <a:gd name="connsiteY1" fmla="*/ 1 h 1125"/>
                    <a:gd name="connsiteX2" fmla="*/ 178 w 865"/>
                    <a:gd name="connsiteY2" fmla="*/ 111 h 1125"/>
                    <a:gd name="connsiteX3" fmla="*/ 153 w 865"/>
                    <a:gd name="connsiteY3" fmla="*/ 187 h 1125"/>
                    <a:gd name="connsiteX4" fmla="*/ 130 w 865"/>
                    <a:gd name="connsiteY4" fmla="*/ 264 h 1125"/>
                    <a:gd name="connsiteX5" fmla="*/ 113 w 865"/>
                    <a:gd name="connsiteY5" fmla="*/ 343 h 1125"/>
                    <a:gd name="connsiteX6" fmla="*/ 100 w 865"/>
                    <a:gd name="connsiteY6" fmla="*/ 423 h 1125"/>
                    <a:gd name="connsiteX7" fmla="*/ 94 w 865"/>
                    <a:gd name="connsiteY7" fmla="*/ 504 h 1125"/>
                    <a:gd name="connsiteX8" fmla="*/ 93 w 865"/>
                    <a:gd name="connsiteY8" fmla="*/ 583 h 1125"/>
                    <a:gd name="connsiteX9" fmla="*/ 95 w 865"/>
                    <a:gd name="connsiteY9" fmla="*/ 664 h 1125"/>
                    <a:gd name="connsiteX10" fmla="*/ 104 w 865"/>
                    <a:gd name="connsiteY10" fmla="*/ 744 h 1125"/>
                    <a:gd name="connsiteX11" fmla="*/ 118 w 865"/>
                    <a:gd name="connsiteY11" fmla="*/ 824 h 1125"/>
                    <a:gd name="connsiteX12" fmla="*/ 136 w 865"/>
                    <a:gd name="connsiteY12" fmla="*/ 903 h 1125"/>
                    <a:gd name="connsiteX13" fmla="*/ 159 w 865"/>
                    <a:gd name="connsiteY13" fmla="*/ 979 h 1125"/>
                    <a:gd name="connsiteX14" fmla="*/ 227 w 865"/>
                    <a:gd name="connsiteY14" fmla="*/ 1125 h 1125"/>
                    <a:gd name="connsiteX15" fmla="*/ 460 w 865"/>
                    <a:gd name="connsiteY15" fmla="*/ 766 h 1125"/>
                    <a:gd name="connsiteX16" fmla="*/ 702 w 865"/>
                    <a:gd name="connsiteY16" fmla="*/ 816 h 1125"/>
                    <a:gd name="connsiteX17" fmla="*/ 681 w 865"/>
                    <a:gd name="connsiteY17" fmla="*/ 760 h 1125"/>
                    <a:gd name="connsiteX18" fmla="*/ 666 w 865"/>
                    <a:gd name="connsiteY18" fmla="*/ 705 h 1125"/>
                    <a:gd name="connsiteX19" fmla="*/ 658 w 865"/>
                    <a:gd name="connsiteY19" fmla="*/ 647 h 1125"/>
                    <a:gd name="connsiteX20" fmla="*/ 652 w 865"/>
                    <a:gd name="connsiteY20" fmla="*/ 588 h 1125"/>
                    <a:gd name="connsiteX21" fmla="*/ 652 w 865"/>
                    <a:gd name="connsiteY21" fmla="*/ 529 h 1125"/>
                    <a:gd name="connsiteX22" fmla="*/ 660 w 865"/>
                    <a:gd name="connsiteY22" fmla="*/ 470 h 1125"/>
                    <a:gd name="connsiteX23" fmla="*/ 672 w 865"/>
                    <a:gd name="connsiteY23" fmla="*/ 413 h 1125"/>
                    <a:gd name="connsiteX24" fmla="*/ 865 w 865"/>
                    <a:gd name="connsiteY24" fmla="*/ 531 h 1125"/>
                    <a:gd name="connsiteX25" fmla="*/ 571 w 865"/>
                    <a:gd name="connsiteY25" fmla="*/ 0 h 1125"/>
                    <a:gd name="connsiteX0" fmla="*/ 571 w 865"/>
                    <a:gd name="connsiteY0" fmla="*/ 0 h 1125"/>
                    <a:gd name="connsiteX1" fmla="*/ 0 w 865"/>
                    <a:gd name="connsiteY1" fmla="*/ 1 h 1125"/>
                    <a:gd name="connsiteX2" fmla="*/ 178 w 865"/>
                    <a:gd name="connsiteY2" fmla="*/ 111 h 1125"/>
                    <a:gd name="connsiteX3" fmla="*/ 153 w 865"/>
                    <a:gd name="connsiteY3" fmla="*/ 187 h 1125"/>
                    <a:gd name="connsiteX4" fmla="*/ 130 w 865"/>
                    <a:gd name="connsiteY4" fmla="*/ 264 h 1125"/>
                    <a:gd name="connsiteX5" fmla="*/ 113 w 865"/>
                    <a:gd name="connsiteY5" fmla="*/ 343 h 1125"/>
                    <a:gd name="connsiteX6" fmla="*/ 100 w 865"/>
                    <a:gd name="connsiteY6" fmla="*/ 423 h 1125"/>
                    <a:gd name="connsiteX7" fmla="*/ 94 w 865"/>
                    <a:gd name="connsiteY7" fmla="*/ 504 h 1125"/>
                    <a:gd name="connsiteX8" fmla="*/ 93 w 865"/>
                    <a:gd name="connsiteY8" fmla="*/ 583 h 1125"/>
                    <a:gd name="connsiteX9" fmla="*/ 95 w 865"/>
                    <a:gd name="connsiteY9" fmla="*/ 664 h 1125"/>
                    <a:gd name="connsiteX10" fmla="*/ 104 w 865"/>
                    <a:gd name="connsiteY10" fmla="*/ 744 h 1125"/>
                    <a:gd name="connsiteX11" fmla="*/ 118 w 865"/>
                    <a:gd name="connsiteY11" fmla="*/ 824 h 1125"/>
                    <a:gd name="connsiteX12" fmla="*/ 136 w 865"/>
                    <a:gd name="connsiteY12" fmla="*/ 903 h 1125"/>
                    <a:gd name="connsiteX13" fmla="*/ 159 w 865"/>
                    <a:gd name="connsiteY13" fmla="*/ 979 h 1125"/>
                    <a:gd name="connsiteX14" fmla="*/ 227 w 865"/>
                    <a:gd name="connsiteY14" fmla="*/ 1125 h 1125"/>
                    <a:gd name="connsiteX15" fmla="*/ 460 w 865"/>
                    <a:gd name="connsiteY15" fmla="*/ 766 h 1125"/>
                    <a:gd name="connsiteX16" fmla="*/ 557 w 865"/>
                    <a:gd name="connsiteY16" fmla="*/ 786 h 1125"/>
                    <a:gd name="connsiteX17" fmla="*/ 702 w 865"/>
                    <a:gd name="connsiteY17" fmla="*/ 816 h 1125"/>
                    <a:gd name="connsiteX18" fmla="*/ 681 w 865"/>
                    <a:gd name="connsiteY18" fmla="*/ 760 h 1125"/>
                    <a:gd name="connsiteX19" fmla="*/ 666 w 865"/>
                    <a:gd name="connsiteY19" fmla="*/ 705 h 1125"/>
                    <a:gd name="connsiteX20" fmla="*/ 658 w 865"/>
                    <a:gd name="connsiteY20" fmla="*/ 647 h 1125"/>
                    <a:gd name="connsiteX21" fmla="*/ 652 w 865"/>
                    <a:gd name="connsiteY21" fmla="*/ 588 h 1125"/>
                    <a:gd name="connsiteX22" fmla="*/ 652 w 865"/>
                    <a:gd name="connsiteY22" fmla="*/ 529 h 1125"/>
                    <a:gd name="connsiteX23" fmla="*/ 660 w 865"/>
                    <a:gd name="connsiteY23" fmla="*/ 470 h 1125"/>
                    <a:gd name="connsiteX24" fmla="*/ 672 w 865"/>
                    <a:gd name="connsiteY24" fmla="*/ 413 h 1125"/>
                    <a:gd name="connsiteX25" fmla="*/ 865 w 865"/>
                    <a:gd name="connsiteY25" fmla="*/ 531 h 1125"/>
                    <a:gd name="connsiteX26" fmla="*/ 571 w 865"/>
                    <a:gd name="connsiteY26" fmla="*/ 0 h 1125"/>
                    <a:gd name="connsiteX0" fmla="*/ 571 w 865"/>
                    <a:gd name="connsiteY0" fmla="*/ 0 h 1125"/>
                    <a:gd name="connsiteX1" fmla="*/ 0 w 865"/>
                    <a:gd name="connsiteY1" fmla="*/ 1 h 1125"/>
                    <a:gd name="connsiteX2" fmla="*/ 178 w 865"/>
                    <a:gd name="connsiteY2" fmla="*/ 111 h 1125"/>
                    <a:gd name="connsiteX3" fmla="*/ 153 w 865"/>
                    <a:gd name="connsiteY3" fmla="*/ 187 h 1125"/>
                    <a:gd name="connsiteX4" fmla="*/ 130 w 865"/>
                    <a:gd name="connsiteY4" fmla="*/ 264 h 1125"/>
                    <a:gd name="connsiteX5" fmla="*/ 113 w 865"/>
                    <a:gd name="connsiteY5" fmla="*/ 343 h 1125"/>
                    <a:gd name="connsiteX6" fmla="*/ 100 w 865"/>
                    <a:gd name="connsiteY6" fmla="*/ 423 h 1125"/>
                    <a:gd name="connsiteX7" fmla="*/ 94 w 865"/>
                    <a:gd name="connsiteY7" fmla="*/ 504 h 1125"/>
                    <a:gd name="connsiteX8" fmla="*/ 93 w 865"/>
                    <a:gd name="connsiteY8" fmla="*/ 583 h 1125"/>
                    <a:gd name="connsiteX9" fmla="*/ 95 w 865"/>
                    <a:gd name="connsiteY9" fmla="*/ 664 h 1125"/>
                    <a:gd name="connsiteX10" fmla="*/ 104 w 865"/>
                    <a:gd name="connsiteY10" fmla="*/ 744 h 1125"/>
                    <a:gd name="connsiteX11" fmla="*/ 118 w 865"/>
                    <a:gd name="connsiteY11" fmla="*/ 824 h 1125"/>
                    <a:gd name="connsiteX12" fmla="*/ 136 w 865"/>
                    <a:gd name="connsiteY12" fmla="*/ 903 h 1125"/>
                    <a:gd name="connsiteX13" fmla="*/ 159 w 865"/>
                    <a:gd name="connsiteY13" fmla="*/ 979 h 1125"/>
                    <a:gd name="connsiteX14" fmla="*/ 227 w 865"/>
                    <a:gd name="connsiteY14" fmla="*/ 1125 h 1125"/>
                    <a:gd name="connsiteX15" fmla="*/ 460 w 865"/>
                    <a:gd name="connsiteY15" fmla="*/ 766 h 1125"/>
                    <a:gd name="connsiteX16" fmla="*/ 557 w 865"/>
                    <a:gd name="connsiteY16" fmla="*/ 786 h 1125"/>
                    <a:gd name="connsiteX17" fmla="*/ 702 w 865"/>
                    <a:gd name="connsiteY17" fmla="*/ 816 h 1125"/>
                    <a:gd name="connsiteX18" fmla="*/ 681 w 865"/>
                    <a:gd name="connsiteY18" fmla="*/ 760 h 1125"/>
                    <a:gd name="connsiteX19" fmla="*/ 666 w 865"/>
                    <a:gd name="connsiteY19" fmla="*/ 705 h 1125"/>
                    <a:gd name="connsiteX20" fmla="*/ 658 w 865"/>
                    <a:gd name="connsiteY20" fmla="*/ 647 h 1125"/>
                    <a:gd name="connsiteX21" fmla="*/ 652 w 865"/>
                    <a:gd name="connsiteY21" fmla="*/ 588 h 1125"/>
                    <a:gd name="connsiteX22" fmla="*/ 652 w 865"/>
                    <a:gd name="connsiteY22" fmla="*/ 529 h 1125"/>
                    <a:gd name="connsiteX23" fmla="*/ 660 w 865"/>
                    <a:gd name="connsiteY23" fmla="*/ 470 h 1125"/>
                    <a:gd name="connsiteX24" fmla="*/ 672 w 865"/>
                    <a:gd name="connsiteY24" fmla="*/ 413 h 1125"/>
                    <a:gd name="connsiteX25" fmla="*/ 865 w 865"/>
                    <a:gd name="connsiteY25" fmla="*/ 531 h 1125"/>
                    <a:gd name="connsiteX26" fmla="*/ 571 w 865"/>
                    <a:gd name="connsiteY26" fmla="*/ 0 h 1125"/>
                    <a:gd name="connsiteX0" fmla="*/ 571 w 865"/>
                    <a:gd name="connsiteY0" fmla="*/ 0 h 1125"/>
                    <a:gd name="connsiteX1" fmla="*/ 0 w 865"/>
                    <a:gd name="connsiteY1" fmla="*/ 1 h 1125"/>
                    <a:gd name="connsiteX2" fmla="*/ 178 w 865"/>
                    <a:gd name="connsiteY2" fmla="*/ 111 h 1125"/>
                    <a:gd name="connsiteX3" fmla="*/ 153 w 865"/>
                    <a:gd name="connsiteY3" fmla="*/ 187 h 1125"/>
                    <a:gd name="connsiteX4" fmla="*/ 130 w 865"/>
                    <a:gd name="connsiteY4" fmla="*/ 264 h 1125"/>
                    <a:gd name="connsiteX5" fmla="*/ 113 w 865"/>
                    <a:gd name="connsiteY5" fmla="*/ 343 h 1125"/>
                    <a:gd name="connsiteX6" fmla="*/ 100 w 865"/>
                    <a:gd name="connsiteY6" fmla="*/ 423 h 1125"/>
                    <a:gd name="connsiteX7" fmla="*/ 94 w 865"/>
                    <a:gd name="connsiteY7" fmla="*/ 504 h 1125"/>
                    <a:gd name="connsiteX8" fmla="*/ 93 w 865"/>
                    <a:gd name="connsiteY8" fmla="*/ 583 h 1125"/>
                    <a:gd name="connsiteX9" fmla="*/ 95 w 865"/>
                    <a:gd name="connsiteY9" fmla="*/ 664 h 1125"/>
                    <a:gd name="connsiteX10" fmla="*/ 104 w 865"/>
                    <a:gd name="connsiteY10" fmla="*/ 744 h 1125"/>
                    <a:gd name="connsiteX11" fmla="*/ 118 w 865"/>
                    <a:gd name="connsiteY11" fmla="*/ 824 h 1125"/>
                    <a:gd name="connsiteX12" fmla="*/ 136 w 865"/>
                    <a:gd name="connsiteY12" fmla="*/ 903 h 1125"/>
                    <a:gd name="connsiteX13" fmla="*/ 159 w 865"/>
                    <a:gd name="connsiteY13" fmla="*/ 979 h 1125"/>
                    <a:gd name="connsiteX14" fmla="*/ 227 w 865"/>
                    <a:gd name="connsiteY14" fmla="*/ 1125 h 1125"/>
                    <a:gd name="connsiteX15" fmla="*/ 460 w 865"/>
                    <a:gd name="connsiteY15" fmla="*/ 766 h 1125"/>
                    <a:gd name="connsiteX16" fmla="*/ 557 w 865"/>
                    <a:gd name="connsiteY16" fmla="*/ 786 h 1125"/>
                    <a:gd name="connsiteX17" fmla="*/ 702 w 865"/>
                    <a:gd name="connsiteY17" fmla="*/ 816 h 1125"/>
                    <a:gd name="connsiteX18" fmla="*/ 681 w 865"/>
                    <a:gd name="connsiteY18" fmla="*/ 760 h 1125"/>
                    <a:gd name="connsiteX19" fmla="*/ 666 w 865"/>
                    <a:gd name="connsiteY19" fmla="*/ 705 h 1125"/>
                    <a:gd name="connsiteX20" fmla="*/ 658 w 865"/>
                    <a:gd name="connsiteY20" fmla="*/ 647 h 1125"/>
                    <a:gd name="connsiteX21" fmla="*/ 652 w 865"/>
                    <a:gd name="connsiteY21" fmla="*/ 588 h 1125"/>
                    <a:gd name="connsiteX22" fmla="*/ 652 w 865"/>
                    <a:gd name="connsiteY22" fmla="*/ 529 h 1125"/>
                    <a:gd name="connsiteX23" fmla="*/ 660 w 865"/>
                    <a:gd name="connsiteY23" fmla="*/ 470 h 1125"/>
                    <a:gd name="connsiteX24" fmla="*/ 672 w 865"/>
                    <a:gd name="connsiteY24" fmla="*/ 413 h 1125"/>
                    <a:gd name="connsiteX25" fmla="*/ 865 w 865"/>
                    <a:gd name="connsiteY25" fmla="*/ 531 h 1125"/>
                    <a:gd name="connsiteX26" fmla="*/ 571 w 865"/>
                    <a:gd name="connsiteY26" fmla="*/ 0 h 1125"/>
                    <a:gd name="connsiteX0" fmla="*/ 571 w 865"/>
                    <a:gd name="connsiteY0" fmla="*/ 0 h 1125"/>
                    <a:gd name="connsiteX1" fmla="*/ 0 w 865"/>
                    <a:gd name="connsiteY1" fmla="*/ 1 h 1125"/>
                    <a:gd name="connsiteX2" fmla="*/ 178 w 865"/>
                    <a:gd name="connsiteY2" fmla="*/ 111 h 1125"/>
                    <a:gd name="connsiteX3" fmla="*/ 153 w 865"/>
                    <a:gd name="connsiteY3" fmla="*/ 187 h 1125"/>
                    <a:gd name="connsiteX4" fmla="*/ 130 w 865"/>
                    <a:gd name="connsiteY4" fmla="*/ 264 h 1125"/>
                    <a:gd name="connsiteX5" fmla="*/ 113 w 865"/>
                    <a:gd name="connsiteY5" fmla="*/ 343 h 1125"/>
                    <a:gd name="connsiteX6" fmla="*/ 100 w 865"/>
                    <a:gd name="connsiteY6" fmla="*/ 423 h 1125"/>
                    <a:gd name="connsiteX7" fmla="*/ 94 w 865"/>
                    <a:gd name="connsiteY7" fmla="*/ 504 h 1125"/>
                    <a:gd name="connsiteX8" fmla="*/ 93 w 865"/>
                    <a:gd name="connsiteY8" fmla="*/ 583 h 1125"/>
                    <a:gd name="connsiteX9" fmla="*/ 95 w 865"/>
                    <a:gd name="connsiteY9" fmla="*/ 664 h 1125"/>
                    <a:gd name="connsiteX10" fmla="*/ 104 w 865"/>
                    <a:gd name="connsiteY10" fmla="*/ 744 h 1125"/>
                    <a:gd name="connsiteX11" fmla="*/ 118 w 865"/>
                    <a:gd name="connsiteY11" fmla="*/ 824 h 1125"/>
                    <a:gd name="connsiteX12" fmla="*/ 136 w 865"/>
                    <a:gd name="connsiteY12" fmla="*/ 903 h 1125"/>
                    <a:gd name="connsiteX13" fmla="*/ 159 w 865"/>
                    <a:gd name="connsiteY13" fmla="*/ 979 h 1125"/>
                    <a:gd name="connsiteX14" fmla="*/ 227 w 865"/>
                    <a:gd name="connsiteY14" fmla="*/ 1125 h 1125"/>
                    <a:gd name="connsiteX15" fmla="*/ 460 w 865"/>
                    <a:gd name="connsiteY15" fmla="*/ 766 h 1125"/>
                    <a:gd name="connsiteX16" fmla="*/ 702 w 865"/>
                    <a:gd name="connsiteY16" fmla="*/ 816 h 1125"/>
                    <a:gd name="connsiteX17" fmla="*/ 681 w 865"/>
                    <a:gd name="connsiteY17" fmla="*/ 760 h 1125"/>
                    <a:gd name="connsiteX18" fmla="*/ 666 w 865"/>
                    <a:gd name="connsiteY18" fmla="*/ 705 h 1125"/>
                    <a:gd name="connsiteX19" fmla="*/ 658 w 865"/>
                    <a:gd name="connsiteY19" fmla="*/ 647 h 1125"/>
                    <a:gd name="connsiteX20" fmla="*/ 652 w 865"/>
                    <a:gd name="connsiteY20" fmla="*/ 588 h 1125"/>
                    <a:gd name="connsiteX21" fmla="*/ 652 w 865"/>
                    <a:gd name="connsiteY21" fmla="*/ 529 h 1125"/>
                    <a:gd name="connsiteX22" fmla="*/ 660 w 865"/>
                    <a:gd name="connsiteY22" fmla="*/ 470 h 1125"/>
                    <a:gd name="connsiteX23" fmla="*/ 672 w 865"/>
                    <a:gd name="connsiteY23" fmla="*/ 413 h 1125"/>
                    <a:gd name="connsiteX24" fmla="*/ 865 w 865"/>
                    <a:gd name="connsiteY24" fmla="*/ 531 h 1125"/>
                    <a:gd name="connsiteX25" fmla="*/ 571 w 865"/>
                    <a:gd name="connsiteY25" fmla="*/ 0 h 1125"/>
                    <a:gd name="connsiteX0" fmla="*/ 571 w 865"/>
                    <a:gd name="connsiteY0" fmla="*/ 0 h 1125"/>
                    <a:gd name="connsiteX1" fmla="*/ 0 w 865"/>
                    <a:gd name="connsiteY1" fmla="*/ 1 h 1125"/>
                    <a:gd name="connsiteX2" fmla="*/ 178 w 865"/>
                    <a:gd name="connsiteY2" fmla="*/ 111 h 1125"/>
                    <a:gd name="connsiteX3" fmla="*/ 153 w 865"/>
                    <a:gd name="connsiteY3" fmla="*/ 187 h 1125"/>
                    <a:gd name="connsiteX4" fmla="*/ 130 w 865"/>
                    <a:gd name="connsiteY4" fmla="*/ 264 h 1125"/>
                    <a:gd name="connsiteX5" fmla="*/ 113 w 865"/>
                    <a:gd name="connsiteY5" fmla="*/ 343 h 1125"/>
                    <a:gd name="connsiteX6" fmla="*/ 100 w 865"/>
                    <a:gd name="connsiteY6" fmla="*/ 423 h 1125"/>
                    <a:gd name="connsiteX7" fmla="*/ 94 w 865"/>
                    <a:gd name="connsiteY7" fmla="*/ 504 h 1125"/>
                    <a:gd name="connsiteX8" fmla="*/ 93 w 865"/>
                    <a:gd name="connsiteY8" fmla="*/ 583 h 1125"/>
                    <a:gd name="connsiteX9" fmla="*/ 95 w 865"/>
                    <a:gd name="connsiteY9" fmla="*/ 664 h 1125"/>
                    <a:gd name="connsiteX10" fmla="*/ 104 w 865"/>
                    <a:gd name="connsiteY10" fmla="*/ 744 h 1125"/>
                    <a:gd name="connsiteX11" fmla="*/ 118 w 865"/>
                    <a:gd name="connsiteY11" fmla="*/ 824 h 1125"/>
                    <a:gd name="connsiteX12" fmla="*/ 136 w 865"/>
                    <a:gd name="connsiteY12" fmla="*/ 903 h 1125"/>
                    <a:gd name="connsiteX13" fmla="*/ 159 w 865"/>
                    <a:gd name="connsiteY13" fmla="*/ 979 h 1125"/>
                    <a:gd name="connsiteX14" fmla="*/ 227 w 865"/>
                    <a:gd name="connsiteY14" fmla="*/ 1125 h 1125"/>
                    <a:gd name="connsiteX15" fmla="*/ 460 w 865"/>
                    <a:gd name="connsiteY15" fmla="*/ 766 h 1125"/>
                    <a:gd name="connsiteX16" fmla="*/ 702 w 865"/>
                    <a:gd name="connsiteY16" fmla="*/ 816 h 1125"/>
                    <a:gd name="connsiteX17" fmla="*/ 681 w 865"/>
                    <a:gd name="connsiteY17" fmla="*/ 760 h 1125"/>
                    <a:gd name="connsiteX18" fmla="*/ 666 w 865"/>
                    <a:gd name="connsiteY18" fmla="*/ 705 h 1125"/>
                    <a:gd name="connsiteX19" fmla="*/ 658 w 865"/>
                    <a:gd name="connsiteY19" fmla="*/ 647 h 1125"/>
                    <a:gd name="connsiteX20" fmla="*/ 652 w 865"/>
                    <a:gd name="connsiteY20" fmla="*/ 588 h 1125"/>
                    <a:gd name="connsiteX21" fmla="*/ 652 w 865"/>
                    <a:gd name="connsiteY21" fmla="*/ 529 h 1125"/>
                    <a:gd name="connsiteX22" fmla="*/ 660 w 865"/>
                    <a:gd name="connsiteY22" fmla="*/ 470 h 1125"/>
                    <a:gd name="connsiteX23" fmla="*/ 672 w 865"/>
                    <a:gd name="connsiteY23" fmla="*/ 413 h 1125"/>
                    <a:gd name="connsiteX24" fmla="*/ 865 w 865"/>
                    <a:gd name="connsiteY24" fmla="*/ 531 h 1125"/>
                    <a:gd name="connsiteX25" fmla="*/ 571 w 865"/>
                    <a:gd name="connsiteY25" fmla="*/ 0 h 1125"/>
                    <a:gd name="connsiteX0" fmla="*/ 571 w 887"/>
                    <a:gd name="connsiteY0" fmla="*/ 0 h 1125"/>
                    <a:gd name="connsiteX1" fmla="*/ 0 w 887"/>
                    <a:gd name="connsiteY1" fmla="*/ 1 h 1125"/>
                    <a:gd name="connsiteX2" fmla="*/ 178 w 887"/>
                    <a:gd name="connsiteY2" fmla="*/ 111 h 1125"/>
                    <a:gd name="connsiteX3" fmla="*/ 153 w 887"/>
                    <a:gd name="connsiteY3" fmla="*/ 187 h 1125"/>
                    <a:gd name="connsiteX4" fmla="*/ 130 w 887"/>
                    <a:gd name="connsiteY4" fmla="*/ 264 h 1125"/>
                    <a:gd name="connsiteX5" fmla="*/ 113 w 887"/>
                    <a:gd name="connsiteY5" fmla="*/ 343 h 1125"/>
                    <a:gd name="connsiteX6" fmla="*/ 100 w 887"/>
                    <a:gd name="connsiteY6" fmla="*/ 423 h 1125"/>
                    <a:gd name="connsiteX7" fmla="*/ 94 w 887"/>
                    <a:gd name="connsiteY7" fmla="*/ 504 h 1125"/>
                    <a:gd name="connsiteX8" fmla="*/ 93 w 887"/>
                    <a:gd name="connsiteY8" fmla="*/ 583 h 1125"/>
                    <a:gd name="connsiteX9" fmla="*/ 95 w 887"/>
                    <a:gd name="connsiteY9" fmla="*/ 664 h 1125"/>
                    <a:gd name="connsiteX10" fmla="*/ 104 w 887"/>
                    <a:gd name="connsiteY10" fmla="*/ 744 h 1125"/>
                    <a:gd name="connsiteX11" fmla="*/ 118 w 887"/>
                    <a:gd name="connsiteY11" fmla="*/ 824 h 1125"/>
                    <a:gd name="connsiteX12" fmla="*/ 136 w 887"/>
                    <a:gd name="connsiteY12" fmla="*/ 903 h 1125"/>
                    <a:gd name="connsiteX13" fmla="*/ 159 w 887"/>
                    <a:gd name="connsiteY13" fmla="*/ 979 h 1125"/>
                    <a:gd name="connsiteX14" fmla="*/ 227 w 887"/>
                    <a:gd name="connsiteY14" fmla="*/ 1125 h 1125"/>
                    <a:gd name="connsiteX15" fmla="*/ 460 w 887"/>
                    <a:gd name="connsiteY15" fmla="*/ 766 h 1125"/>
                    <a:gd name="connsiteX16" fmla="*/ 702 w 887"/>
                    <a:gd name="connsiteY16" fmla="*/ 816 h 1125"/>
                    <a:gd name="connsiteX17" fmla="*/ 681 w 887"/>
                    <a:gd name="connsiteY17" fmla="*/ 760 h 1125"/>
                    <a:gd name="connsiteX18" fmla="*/ 666 w 887"/>
                    <a:gd name="connsiteY18" fmla="*/ 705 h 1125"/>
                    <a:gd name="connsiteX19" fmla="*/ 658 w 887"/>
                    <a:gd name="connsiteY19" fmla="*/ 647 h 1125"/>
                    <a:gd name="connsiteX20" fmla="*/ 652 w 887"/>
                    <a:gd name="connsiteY20" fmla="*/ 588 h 1125"/>
                    <a:gd name="connsiteX21" fmla="*/ 652 w 887"/>
                    <a:gd name="connsiteY21" fmla="*/ 529 h 1125"/>
                    <a:gd name="connsiteX22" fmla="*/ 660 w 887"/>
                    <a:gd name="connsiteY22" fmla="*/ 470 h 1125"/>
                    <a:gd name="connsiteX23" fmla="*/ 672 w 887"/>
                    <a:gd name="connsiteY23" fmla="*/ 413 h 1125"/>
                    <a:gd name="connsiteX24" fmla="*/ 887 w 887"/>
                    <a:gd name="connsiteY24" fmla="*/ 508 h 1125"/>
                    <a:gd name="connsiteX25" fmla="*/ 571 w 887"/>
                    <a:gd name="connsiteY25" fmla="*/ 0 h 112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</a:cxnLst>
                  <a:rect l="l" t="t" r="r" b="b"/>
                  <a:pathLst>
                    <a:path w="887" h="1125">
                      <a:moveTo>
                        <a:pt x="571" y="0"/>
                      </a:moveTo>
                      <a:lnTo>
                        <a:pt x="0" y="1"/>
                      </a:lnTo>
                      <a:lnTo>
                        <a:pt x="178" y="111"/>
                      </a:lnTo>
                      <a:cubicBezTo>
                        <a:pt x="170" y="136"/>
                        <a:pt x="161" y="162"/>
                        <a:pt x="153" y="187"/>
                      </a:cubicBezTo>
                      <a:cubicBezTo>
                        <a:pt x="145" y="213"/>
                        <a:pt x="138" y="238"/>
                        <a:pt x="130" y="264"/>
                      </a:cubicBezTo>
                      <a:cubicBezTo>
                        <a:pt x="124" y="290"/>
                        <a:pt x="119" y="317"/>
                        <a:pt x="113" y="343"/>
                      </a:cubicBezTo>
                      <a:cubicBezTo>
                        <a:pt x="109" y="370"/>
                        <a:pt x="104" y="396"/>
                        <a:pt x="100" y="423"/>
                      </a:cubicBezTo>
                      <a:lnTo>
                        <a:pt x="94" y="504"/>
                      </a:lnTo>
                      <a:cubicBezTo>
                        <a:pt x="94" y="530"/>
                        <a:pt x="93" y="557"/>
                        <a:pt x="93" y="583"/>
                      </a:cubicBezTo>
                      <a:cubicBezTo>
                        <a:pt x="94" y="610"/>
                        <a:pt x="94" y="637"/>
                        <a:pt x="95" y="664"/>
                      </a:cubicBezTo>
                      <a:cubicBezTo>
                        <a:pt x="98" y="691"/>
                        <a:pt x="101" y="717"/>
                        <a:pt x="104" y="744"/>
                      </a:cubicBezTo>
                      <a:cubicBezTo>
                        <a:pt x="109" y="771"/>
                        <a:pt x="113" y="797"/>
                        <a:pt x="118" y="824"/>
                      </a:cubicBezTo>
                      <a:cubicBezTo>
                        <a:pt x="124" y="850"/>
                        <a:pt x="130" y="877"/>
                        <a:pt x="136" y="903"/>
                      </a:cubicBezTo>
                      <a:cubicBezTo>
                        <a:pt x="144" y="928"/>
                        <a:pt x="151" y="954"/>
                        <a:pt x="159" y="979"/>
                      </a:cubicBezTo>
                      <a:cubicBezTo>
                        <a:pt x="182" y="1028"/>
                        <a:pt x="204" y="1076"/>
                        <a:pt x="227" y="1125"/>
                      </a:cubicBezTo>
                      <a:lnTo>
                        <a:pt x="460" y="766"/>
                      </a:lnTo>
                      <a:lnTo>
                        <a:pt x="702" y="816"/>
                      </a:lnTo>
                      <a:cubicBezTo>
                        <a:pt x="695" y="797"/>
                        <a:pt x="688" y="779"/>
                        <a:pt x="681" y="760"/>
                      </a:cubicBezTo>
                      <a:cubicBezTo>
                        <a:pt x="676" y="742"/>
                        <a:pt x="671" y="723"/>
                        <a:pt x="666" y="705"/>
                      </a:cubicBezTo>
                      <a:cubicBezTo>
                        <a:pt x="663" y="686"/>
                        <a:pt x="661" y="666"/>
                        <a:pt x="658" y="647"/>
                      </a:cubicBezTo>
                      <a:cubicBezTo>
                        <a:pt x="656" y="627"/>
                        <a:pt x="654" y="608"/>
                        <a:pt x="652" y="588"/>
                      </a:cubicBezTo>
                      <a:lnTo>
                        <a:pt x="652" y="529"/>
                      </a:lnTo>
                      <a:cubicBezTo>
                        <a:pt x="655" y="509"/>
                        <a:pt x="657" y="490"/>
                        <a:pt x="660" y="470"/>
                      </a:cubicBezTo>
                      <a:lnTo>
                        <a:pt x="672" y="413"/>
                      </a:lnTo>
                      <a:lnTo>
                        <a:pt x="887" y="508"/>
                      </a:lnTo>
                      <a:lnTo>
                        <a:pt x="571" y="0"/>
                      </a:lnTo>
                    </a:path>
                  </a:pathLst>
                </a:custGeom>
                <a:solidFill>
                  <a:srgbClr val="FFC000"/>
                </a:solidFill>
                <a:ln w="57150" cap="rnd">
                  <a:noFill/>
                  <a:miter lim="800000"/>
                  <a:headEnd/>
                  <a:tailEnd/>
                </a:ln>
              </p:spPr>
              <p:txBody>
                <a:bodyPr anchor="ctr"/>
                <a:lstStyle/>
                <a:p>
                  <a:pPr algn="ctr">
                    <a:spcBef>
                      <a:spcPct val="20000"/>
                    </a:spcBef>
                    <a:defRPr/>
                  </a:pPr>
                  <a:endParaRPr lang="en-GB" sz="1050" b="1" dirty="0">
                    <a:ln cap="flat">
                      <a:noFill/>
                      <a:round/>
                    </a:ln>
                    <a:solidFill>
                      <a:srgbClr val="FFFFFF"/>
                    </a:solidFill>
                    <a:ea typeface="+mn-ea"/>
                    <a:cs typeface="Arial" pitchFamily="34" charset="0"/>
                  </a:endParaRPr>
                </a:p>
              </p:txBody>
            </p:sp>
            <p:sp>
              <p:nvSpPr>
                <p:cNvPr id="676878" name="Rectangle 13"/>
                <p:cNvSpPr>
                  <a:spLocks noChangeArrowheads="1"/>
                </p:cNvSpPr>
                <p:nvPr/>
              </p:nvSpPr>
              <p:spPr bwMode="blackWhite">
                <a:xfrm>
                  <a:off x="4428568" y="3179710"/>
                  <a:ext cx="956724" cy="294369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  <p:txBody>
                <a:bodyPr lIns="0" tIns="0" rIns="0" bIns="0" anchor="ctr" anchorCtr="1">
                  <a:spAutoFit/>
                </a:bodyPr>
                <a:lstStyle/>
                <a:p>
                  <a:pPr algn="ctr" defTabSz="787400">
                    <a:lnSpc>
                      <a:spcPct val="95000"/>
                    </a:lnSpc>
                    <a:buClr>
                      <a:srgbClr val="002776"/>
                    </a:buClr>
                    <a:buFont typeface="Wingdings 2" pitchFamily="18" charset="2"/>
                    <a:buNone/>
                    <a:defRPr/>
                  </a:pPr>
                  <a:r>
                    <a:rPr lang="en-GB" sz="1400" b="1" dirty="0">
                      <a:ea typeface="+mn-ea"/>
                      <a:cs typeface="Arial" pitchFamily="34" charset="0"/>
                    </a:rPr>
                    <a:t>Execute</a:t>
                  </a:r>
                </a:p>
                <a:p>
                  <a:pPr algn="ctr" defTabSz="787400">
                    <a:lnSpc>
                      <a:spcPct val="95000"/>
                    </a:lnSpc>
                    <a:buClr>
                      <a:srgbClr val="002776"/>
                    </a:buClr>
                    <a:buFont typeface="Wingdings 2" pitchFamily="18" charset="2"/>
                    <a:buNone/>
                    <a:defRPr/>
                  </a:pPr>
                  <a:r>
                    <a:rPr lang="en-GB" sz="1400" b="1" dirty="0">
                      <a:ea typeface="+mn-ea"/>
                      <a:cs typeface="Arial" pitchFamily="34" charset="0"/>
                    </a:rPr>
                    <a:t>Work</a:t>
                  </a:r>
                </a:p>
              </p:txBody>
            </p:sp>
          </p:grpSp>
          <p:grpSp>
            <p:nvGrpSpPr>
              <p:cNvPr id="15381" name="Group 36"/>
              <p:cNvGrpSpPr>
                <a:grpSpLocks/>
              </p:cNvGrpSpPr>
              <p:nvPr/>
            </p:nvGrpSpPr>
            <p:grpSpPr bwMode="auto">
              <a:xfrm>
                <a:off x="4486549" y="3868092"/>
                <a:ext cx="1573479" cy="1422274"/>
                <a:chOff x="4486549" y="3868092"/>
                <a:chExt cx="1573479" cy="1422274"/>
              </a:xfrm>
            </p:grpSpPr>
            <p:sp>
              <p:nvSpPr>
                <p:cNvPr id="20" name="Freeform 6"/>
                <p:cNvSpPr>
                  <a:spLocks/>
                </p:cNvSpPr>
                <p:nvPr/>
              </p:nvSpPr>
              <p:spPr bwMode="blackWhite">
                <a:xfrm>
                  <a:off x="4486054" y="3867712"/>
                  <a:ext cx="1573668" cy="1422784"/>
                </a:xfrm>
                <a:custGeom>
                  <a:avLst/>
                  <a:gdLst>
                    <a:gd name="T0" fmla="*/ 2147483647 w 1061"/>
                    <a:gd name="T1" fmla="*/ 0 h 946"/>
                    <a:gd name="T2" fmla="*/ 0 w 1061"/>
                    <a:gd name="T3" fmla="*/ 2147483647 h 946"/>
                    <a:gd name="T4" fmla="*/ 2147483647 w 1061"/>
                    <a:gd name="T5" fmla="*/ 2147483647 h 946"/>
                    <a:gd name="T6" fmla="*/ 2147483647 w 1061"/>
                    <a:gd name="T7" fmla="*/ 2147483647 h 946"/>
                    <a:gd name="T8" fmla="*/ 2147483647 w 1061"/>
                    <a:gd name="T9" fmla="*/ 2147483647 h 946"/>
                    <a:gd name="T10" fmla="*/ 2147483647 w 1061"/>
                    <a:gd name="T11" fmla="*/ 2147483647 h 946"/>
                    <a:gd name="T12" fmla="*/ 2147483647 w 1061"/>
                    <a:gd name="T13" fmla="*/ 2147483647 h 946"/>
                    <a:gd name="T14" fmla="*/ 2147483647 w 1061"/>
                    <a:gd name="T15" fmla="*/ 2147483647 h 946"/>
                    <a:gd name="T16" fmla="*/ 2147483647 w 1061"/>
                    <a:gd name="T17" fmla="*/ 2147483647 h 946"/>
                    <a:gd name="T18" fmla="*/ 2147483647 w 1061"/>
                    <a:gd name="T19" fmla="*/ 2147483647 h 946"/>
                    <a:gd name="T20" fmla="*/ 2147483647 w 1061"/>
                    <a:gd name="T21" fmla="*/ 2147483647 h 946"/>
                    <a:gd name="T22" fmla="*/ 2147483647 w 1061"/>
                    <a:gd name="T23" fmla="*/ 2147483647 h 946"/>
                    <a:gd name="T24" fmla="*/ 2147483647 w 1061"/>
                    <a:gd name="T25" fmla="*/ 2147483647 h 946"/>
                    <a:gd name="T26" fmla="*/ 2147483647 w 1061"/>
                    <a:gd name="T27" fmla="*/ 2147483647 h 946"/>
                    <a:gd name="T28" fmla="*/ 2147483647 w 1061"/>
                    <a:gd name="T29" fmla="*/ 2147483647 h 946"/>
                    <a:gd name="T30" fmla="*/ 2147483647 w 1061"/>
                    <a:gd name="T31" fmla="*/ 2147483647 h 946"/>
                    <a:gd name="T32" fmla="*/ 2147483647 w 1061"/>
                    <a:gd name="T33" fmla="*/ 2147483647 h 946"/>
                    <a:gd name="T34" fmla="*/ 2147483647 w 1061"/>
                    <a:gd name="T35" fmla="*/ 2147483647 h 946"/>
                    <a:gd name="T36" fmla="*/ 2147483647 w 1061"/>
                    <a:gd name="T37" fmla="*/ 2147483647 h 946"/>
                    <a:gd name="T38" fmla="*/ 2147483647 w 1061"/>
                    <a:gd name="T39" fmla="*/ 2147483647 h 946"/>
                    <a:gd name="T40" fmla="*/ 2147483647 w 1061"/>
                    <a:gd name="T41" fmla="*/ 2147483647 h 946"/>
                    <a:gd name="T42" fmla="*/ 2147483647 w 1061"/>
                    <a:gd name="T43" fmla="*/ 2147483647 h 946"/>
                    <a:gd name="T44" fmla="*/ 2147483647 w 1061"/>
                    <a:gd name="T45" fmla="*/ 2147483647 h 946"/>
                    <a:gd name="T46" fmla="*/ 2147483647 w 1061"/>
                    <a:gd name="T47" fmla="*/ 2147483647 h 946"/>
                    <a:gd name="T48" fmla="*/ 2147483647 w 1061"/>
                    <a:gd name="T49" fmla="*/ 2147483647 h 946"/>
                    <a:gd name="T50" fmla="*/ 2147483647 w 1061"/>
                    <a:gd name="T51" fmla="*/ 0 h 94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w 1061"/>
                    <a:gd name="T79" fmla="*/ 0 h 946"/>
                    <a:gd name="T80" fmla="*/ 1061 w 1061"/>
                    <a:gd name="T81" fmla="*/ 946 h 946"/>
                  </a:gdLst>
                  <a:ahLst/>
                  <a:cxnLst>
                    <a:cxn ang="T52">
                      <a:pos x="T0" y="T1"/>
                    </a:cxn>
                    <a:cxn ang="T53">
                      <a:pos x="T2" y="T3"/>
                    </a:cxn>
                    <a:cxn ang="T54">
                      <a:pos x="T4" y="T5"/>
                    </a:cxn>
                    <a:cxn ang="T55">
                      <a:pos x="T6" y="T7"/>
                    </a:cxn>
                    <a:cxn ang="T56">
                      <a:pos x="T8" y="T9"/>
                    </a:cxn>
                    <a:cxn ang="T57">
                      <a:pos x="T10" y="T11"/>
                    </a:cxn>
                    <a:cxn ang="T58">
                      <a:pos x="T12" y="T13"/>
                    </a:cxn>
                    <a:cxn ang="T59">
                      <a:pos x="T14" y="T15"/>
                    </a:cxn>
                    <a:cxn ang="T60">
                      <a:pos x="T16" y="T17"/>
                    </a:cxn>
                    <a:cxn ang="T61">
                      <a:pos x="T18" y="T19"/>
                    </a:cxn>
                    <a:cxn ang="T62">
                      <a:pos x="T20" y="T21"/>
                    </a:cxn>
                    <a:cxn ang="T63">
                      <a:pos x="T22" y="T23"/>
                    </a:cxn>
                    <a:cxn ang="T64">
                      <a:pos x="T24" y="T25"/>
                    </a:cxn>
                    <a:cxn ang="T65">
                      <a:pos x="T26" y="T27"/>
                    </a:cxn>
                    <a:cxn ang="T66">
                      <a:pos x="T28" y="T29"/>
                    </a:cxn>
                    <a:cxn ang="T67">
                      <a:pos x="T30" y="T31"/>
                    </a:cxn>
                    <a:cxn ang="T68">
                      <a:pos x="T32" y="T33"/>
                    </a:cxn>
                    <a:cxn ang="T69">
                      <a:pos x="T34" y="T35"/>
                    </a:cxn>
                    <a:cxn ang="T70">
                      <a:pos x="T36" y="T37"/>
                    </a:cxn>
                    <a:cxn ang="T71">
                      <a:pos x="T38" y="T39"/>
                    </a:cxn>
                    <a:cxn ang="T72">
                      <a:pos x="T40" y="T41"/>
                    </a:cxn>
                    <a:cxn ang="T73">
                      <a:pos x="T42" y="T43"/>
                    </a:cxn>
                    <a:cxn ang="T74">
                      <a:pos x="T44" y="T45"/>
                    </a:cxn>
                    <a:cxn ang="T75">
                      <a:pos x="T46" y="T47"/>
                    </a:cxn>
                    <a:cxn ang="T76">
                      <a:pos x="T48" y="T49"/>
                    </a:cxn>
                    <a:cxn ang="T77">
                      <a:pos x="T50" y="T51"/>
                    </a:cxn>
                  </a:cxnLst>
                  <a:rect l="T78" t="T79" r="T80" b="T81"/>
                  <a:pathLst>
                    <a:path w="1061" h="946">
                      <a:moveTo>
                        <a:pt x="372" y="0"/>
                      </a:moveTo>
                      <a:lnTo>
                        <a:pt x="0" y="477"/>
                      </a:lnTo>
                      <a:lnTo>
                        <a:pt x="207" y="395"/>
                      </a:lnTo>
                      <a:lnTo>
                        <a:pt x="252" y="466"/>
                      </a:lnTo>
                      <a:lnTo>
                        <a:pt x="302" y="531"/>
                      </a:lnTo>
                      <a:lnTo>
                        <a:pt x="354" y="592"/>
                      </a:lnTo>
                      <a:lnTo>
                        <a:pt x="410" y="649"/>
                      </a:lnTo>
                      <a:lnTo>
                        <a:pt x="471" y="703"/>
                      </a:lnTo>
                      <a:lnTo>
                        <a:pt x="535" y="751"/>
                      </a:lnTo>
                      <a:lnTo>
                        <a:pt x="602" y="795"/>
                      </a:lnTo>
                      <a:lnTo>
                        <a:pt x="670" y="833"/>
                      </a:lnTo>
                      <a:lnTo>
                        <a:pt x="745" y="867"/>
                      </a:lnTo>
                      <a:lnTo>
                        <a:pt x="818" y="894"/>
                      </a:lnTo>
                      <a:lnTo>
                        <a:pt x="894" y="917"/>
                      </a:lnTo>
                      <a:lnTo>
                        <a:pt x="970" y="934"/>
                      </a:lnTo>
                      <a:lnTo>
                        <a:pt x="1048" y="945"/>
                      </a:lnTo>
                      <a:lnTo>
                        <a:pt x="896" y="669"/>
                      </a:lnTo>
                      <a:lnTo>
                        <a:pt x="1060" y="347"/>
                      </a:lnTo>
                      <a:lnTo>
                        <a:pt x="1004" y="334"/>
                      </a:lnTo>
                      <a:lnTo>
                        <a:pt x="951" y="315"/>
                      </a:lnTo>
                      <a:lnTo>
                        <a:pt x="898" y="290"/>
                      </a:lnTo>
                      <a:lnTo>
                        <a:pt x="850" y="260"/>
                      </a:lnTo>
                      <a:lnTo>
                        <a:pt x="802" y="223"/>
                      </a:lnTo>
                      <a:lnTo>
                        <a:pt x="761" y="184"/>
                      </a:lnTo>
                      <a:lnTo>
                        <a:pt x="938" y="113"/>
                      </a:lnTo>
                      <a:lnTo>
                        <a:pt x="372" y="0"/>
                      </a:lnTo>
                    </a:path>
                  </a:pathLst>
                </a:custGeom>
                <a:solidFill>
                  <a:srgbClr val="FFC000"/>
                </a:solidFill>
                <a:ln w="12700" cap="rnd">
                  <a:noFill/>
                  <a:round/>
                  <a:headEnd/>
                  <a:tailEnd/>
                </a:ln>
              </p:spPr>
              <p:txBody>
                <a:bodyPr anchor="ctr"/>
                <a:lstStyle/>
                <a:p>
                  <a:pPr algn="ctr">
                    <a:spcBef>
                      <a:spcPct val="20000"/>
                    </a:spcBef>
                    <a:defRPr/>
                  </a:pPr>
                  <a:endParaRPr lang="en-GB" sz="1050" b="1" dirty="0">
                    <a:solidFill>
                      <a:srgbClr val="002776"/>
                    </a:solidFill>
                    <a:ea typeface="+mn-ea"/>
                    <a:cs typeface="Arial" pitchFamily="34" charset="0"/>
                  </a:endParaRPr>
                </a:p>
              </p:txBody>
            </p:sp>
            <p:sp>
              <p:nvSpPr>
                <p:cNvPr id="676877" name="Rectangle 12"/>
                <p:cNvSpPr>
                  <a:spLocks noChangeArrowheads="1"/>
                </p:cNvSpPr>
                <p:nvPr/>
              </p:nvSpPr>
              <p:spPr bwMode="blackWhite">
                <a:xfrm>
                  <a:off x="4922329" y="4358327"/>
                  <a:ext cx="955697" cy="294369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  <p:txBody>
                <a:bodyPr lIns="0" tIns="0" rIns="0" bIns="0" anchor="ctr" anchorCtr="1">
                  <a:spAutoFit/>
                </a:bodyPr>
                <a:lstStyle/>
                <a:p>
                  <a:pPr algn="ctr" defTabSz="787400">
                    <a:lnSpc>
                      <a:spcPct val="95000"/>
                    </a:lnSpc>
                    <a:buClr>
                      <a:srgbClr val="002776"/>
                    </a:buClr>
                    <a:buFont typeface="Wingdings 2" pitchFamily="18" charset="2"/>
                    <a:buNone/>
                    <a:defRPr/>
                  </a:pPr>
                  <a:r>
                    <a:rPr lang="en-GB" sz="1400" b="1" dirty="0">
                      <a:ea typeface="+mn-ea"/>
                      <a:cs typeface="Arial" pitchFamily="34" charset="0"/>
                    </a:rPr>
                    <a:t>Select </a:t>
                  </a:r>
                </a:p>
                <a:p>
                  <a:pPr algn="ctr" defTabSz="787400">
                    <a:lnSpc>
                      <a:spcPct val="95000"/>
                    </a:lnSpc>
                    <a:buClr>
                      <a:srgbClr val="002776"/>
                    </a:buClr>
                    <a:buFont typeface="Wingdings 2" pitchFamily="18" charset="2"/>
                    <a:buNone/>
                    <a:defRPr/>
                  </a:pPr>
                  <a:r>
                    <a:rPr lang="en-GB" sz="1400" b="1" dirty="0">
                      <a:ea typeface="+mn-ea"/>
                      <a:cs typeface="Arial" pitchFamily="34" charset="0"/>
                    </a:rPr>
                    <a:t>Work</a:t>
                  </a:r>
                </a:p>
              </p:txBody>
            </p:sp>
          </p:grpSp>
        </p:grpSp>
        <p:sp>
          <p:nvSpPr>
            <p:cNvPr id="15367" name="AutoShape 12"/>
            <p:cNvSpPr>
              <a:spLocks noChangeArrowheads="1"/>
            </p:cNvSpPr>
            <p:nvPr/>
          </p:nvSpPr>
          <p:spPr bwMode="gray">
            <a:xfrm>
              <a:off x="7624593" y="1929193"/>
              <a:ext cx="885603" cy="339578"/>
            </a:xfrm>
            <a:prstGeom prst="rect">
              <a:avLst/>
            </a:prstGeom>
            <a:solidFill>
              <a:srgbClr val="0066A4"/>
            </a:solidFill>
            <a:ln w="12700" cap="rnd" algn="ctr">
              <a:solidFill>
                <a:schemeClr val="bg1"/>
              </a:solidFill>
              <a:miter lim="800000"/>
              <a:headEnd/>
              <a:tailEnd/>
            </a:ln>
          </p:spPr>
          <p:txBody>
            <a:bodyPr lIns="36000" tIns="36000" rIns="36000" bIns="36000" anchor="ctr"/>
            <a:lstStyle>
              <a:lvl1pPr eaLnBrk="0" hangingPunct="0">
                <a:spcBef>
                  <a:spcPct val="20000"/>
                </a:spcBef>
                <a:buClr>
                  <a:schemeClr val="accent2"/>
                </a:buClr>
                <a:buFont typeface="Wingdings" pitchFamily="2" charset="2"/>
                <a:buChar char="v"/>
                <a:defRPr sz="28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spcBef>
                  <a:spcPct val="20000"/>
                </a:spcBef>
                <a:buClr>
                  <a:schemeClr val="accent2"/>
                </a:buClr>
                <a:buFont typeface="Wingdings" pitchFamily="2" charset="2"/>
                <a:buChar char="§"/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spcBef>
                  <a:spcPct val="20000"/>
                </a:spcBef>
                <a:buClr>
                  <a:schemeClr val="accent2"/>
                </a:buClr>
                <a:buChar char="•"/>
                <a:defRPr sz="20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spcBef>
                  <a:spcPct val="20000"/>
                </a:spcBef>
                <a:buChar char="–"/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spcBef>
                  <a:spcPct val="20000"/>
                </a:spcBef>
                <a:buChar char="»"/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defTabSz="4572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defTabSz="4572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defTabSz="4572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defTabSz="4572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 eaLnBrk="1" hangingPunct="1">
                <a:lnSpc>
                  <a:spcPct val="110000"/>
                </a:lnSpc>
                <a:spcBef>
                  <a:spcPct val="0"/>
                </a:spcBef>
                <a:buClrTx/>
                <a:buFontTx/>
                <a:buNone/>
              </a:pPr>
              <a:r>
                <a:rPr lang="en-US" altLang="en-US" sz="1200" b="1">
                  <a:solidFill>
                    <a:srgbClr val="FFFFFF"/>
                  </a:solidFill>
                </a:rPr>
                <a:t>FOCUS</a:t>
              </a:r>
            </a:p>
          </p:txBody>
        </p:sp>
        <p:sp>
          <p:nvSpPr>
            <p:cNvPr id="15368" name="AutoShape 12"/>
            <p:cNvSpPr>
              <a:spLocks noChangeArrowheads="1"/>
            </p:cNvSpPr>
            <p:nvPr/>
          </p:nvSpPr>
          <p:spPr bwMode="gray">
            <a:xfrm>
              <a:off x="5327441" y="5860184"/>
              <a:ext cx="885603" cy="339576"/>
            </a:xfrm>
            <a:prstGeom prst="rect">
              <a:avLst/>
            </a:prstGeom>
            <a:solidFill>
              <a:srgbClr val="00647D"/>
            </a:solidFill>
            <a:ln w="12700" cap="rnd" algn="ctr">
              <a:solidFill>
                <a:schemeClr val="bg1"/>
              </a:solidFill>
              <a:miter lim="800000"/>
              <a:headEnd/>
              <a:tailEnd/>
            </a:ln>
          </p:spPr>
          <p:txBody>
            <a:bodyPr lIns="36000" tIns="36000" rIns="36000" bIns="36000" anchor="ctr"/>
            <a:lstStyle>
              <a:lvl1pPr eaLnBrk="0" hangingPunct="0">
                <a:spcBef>
                  <a:spcPct val="20000"/>
                </a:spcBef>
                <a:buClr>
                  <a:schemeClr val="accent2"/>
                </a:buClr>
                <a:buFont typeface="Wingdings" pitchFamily="2" charset="2"/>
                <a:buChar char="v"/>
                <a:defRPr sz="28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spcBef>
                  <a:spcPct val="20000"/>
                </a:spcBef>
                <a:buClr>
                  <a:schemeClr val="accent2"/>
                </a:buClr>
                <a:buFont typeface="Wingdings" pitchFamily="2" charset="2"/>
                <a:buChar char="§"/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spcBef>
                  <a:spcPct val="20000"/>
                </a:spcBef>
                <a:buClr>
                  <a:schemeClr val="accent2"/>
                </a:buClr>
                <a:buChar char="•"/>
                <a:defRPr sz="20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spcBef>
                  <a:spcPct val="20000"/>
                </a:spcBef>
                <a:buChar char="–"/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spcBef>
                  <a:spcPct val="20000"/>
                </a:spcBef>
                <a:buChar char="»"/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defTabSz="4572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defTabSz="4572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defTabSz="4572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defTabSz="4572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 eaLnBrk="1" hangingPunct="1">
                <a:lnSpc>
                  <a:spcPct val="110000"/>
                </a:lnSpc>
                <a:spcBef>
                  <a:spcPct val="0"/>
                </a:spcBef>
                <a:buClrTx/>
                <a:buFontTx/>
                <a:buNone/>
              </a:pPr>
              <a:r>
                <a:rPr lang="en-US" altLang="en-US" sz="1200" b="1">
                  <a:solidFill>
                    <a:srgbClr val="FFFFFF"/>
                  </a:solidFill>
                </a:rPr>
                <a:t>PLAN</a:t>
              </a:r>
            </a:p>
          </p:txBody>
        </p:sp>
        <p:sp>
          <p:nvSpPr>
            <p:cNvPr id="15369" name="AutoShape 12"/>
            <p:cNvSpPr>
              <a:spLocks noChangeArrowheads="1"/>
            </p:cNvSpPr>
            <p:nvPr/>
          </p:nvSpPr>
          <p:spPr bwMode="gray">
            <a:xfrm>
              <a:off x="3000274" y="3178855"/>
              <a:ext cx="885603" cy="339578"/>
            </a:xfrm>
            <a:prstGeom prst="rect">
              <a:avLst/>
            </a:prstGeom>
            <a:solidFill>
              <a:srgbClr val="0066A4"/>
            </a:solidFill>
            <a:ln w="12700" cap="rnd" algn="ctr">
              <a:solidFill>
                <a:schemeClr val="bg1"/>
              </a:solidFill>
              <a:miter lim="800000"/>
              <a:headEnd/>
              <a:tailEnd/>
            </a:ln>
          </p:spPr>
          <p:txBody>
            <a:bodyPr lIns="36000" tIns="36000" rIns="36000" bIns="36000" anchor="ctr"/>
            <a:lstStyle>
              <a:lvl1pPr eaLnBrk="0" hangingPunct="0">
                <a:spcBef>
                  <a:spcPct val="20000"/>
                </a:spcBef>
                <a:buClr>
                  <a:schemeClr val="accent2"/>
                </a:buClr>
                <a:buFont typeface="Wingdings" pitchFamily="2" charset="2"/>
                <a:buChar char="v"/>
                <a:defRPr sz="28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spcBef>
                  <a:spcPct val="20000"/>
                </a:spcBef>
                <a:buClr>
                  <a:schemeClr val="accent2"/>
                </a:buClr>
                <a:buFont typeface="Wingdings" pitchFamily="2" charset="2"/>
                <a:buChar char="§"/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spcBef>
                  <a:spcPct val="20000"/>
                </a:spcBef>
                <a:buClr>
                  <a:schemeClr val="accent2"/>
                </a:buClr>
                <a:buChar char="•"/>
                <a:defRPr sz="20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spcBef>
                  <a:spcPct val="20000"/>
                </a:spcBef>
                <a:buChar char="–"/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spcBef>
                  <a:spcPct val="20000"/>
                </a:spcBef>
                <a:buChar char="»"/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defTabSz="4572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defTabSz="4572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defTabSz="4572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defTabSz="4572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 eaLnBrk="1" hangingPunct="1">
                <a:lnSpc>
                  <a:spcPct val="110000"/>
                </a:lnSpc>
                <a:spcBef>
                  <a:spcPct val="0"/>
                </a:spcBef>
                <a:buClrTx/>
                <a:buFontTx/>
                <a:buNone/>
              </a:pPr>
              <a:r>
                <a:rPr lang="en-US" altLang="en-US" sz="1200" b="1">
                  <a:solidFill>
                    <a:srgbClr val="FFFFFF"/>
                  </a:solidFill>
                </a:rPr>
                <a:t>EXECUTE</a:t>
              </a:r>
            </a:p>
          </p:txBody>
        </p:sp>
        <p:sp>
          <p:nvSpPr>
            <p:cNvPr id="15370" name="AutoShape 12"/>
            <p:cNvSpPr>
              <a:spLocks noChangeArrowheads="1"/>
            </p:cNvSpPr>
            <p:nvPr/>
          </p:nvSpPr>
          <p:spPr bwMode="gray">
            <a:xfrm>
              <a:off x="5870757" y="3048706"/>
              <a:ext cx="885603" cy="339577"/>
            </a:xfrm>
            <a:prstGeom prst="rect">
              <a:avLst/>
            </a:prstGeom>
            <a:solidFill>
              <a:srgbClr val="00647D"/>
            </a:solidFill>
            <a:ln w="12700" cap="rnd" algn="ctr">
              <a:solidFill>
                <a:schemeClr val="bg1"/>
              </a:solidFill>
              <a:miter lim="800000"/>
              <a:headEnd/>
              <a:tailEnd/>
            </a:ln>
          </p:spPr>
          <p:txBody>
            <a:bodyPr lIns="36000" tIns="36000" rIns="36000" bIns="36000" anchor="ctr"/>
            <a:lstStyle>
              <a:lvl1pPr eaLnBrk="0" hangingPunct="0">
                <a:spcBef>
                  <a:spcPct val="20000"/>
                </a:spcBef>
                <a:buClr>
                  <a:schemeClr val="accent2"/>
                </a:buClr>
                <a:buFont typeface="Wingdings" pitchFamily="2" charset="2"/>
                <a:buChar char="v"/>
                <a:defRPr sz="28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spcBef>
                  <a:spcPct val="20000"/>
                </a:spcBef>
                <a:buClr>
                  <a:schemeClr val="accent2"/>
                </a:buClr>
                <a:buFont typeface="Wingdings" pitchFamily="2" charset="2"/>
                <a:buChar char="§"/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spcBef>
                  <a:spcPct val="20000"/>
                </a:spcBef>
                <a:buClr>
                  <a:schemeClr val="accent2"/>
                </a:buClr>
                <a:buChar char="•"/>
                <a:defRPr sz="20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spcBef>
                  <a:spcPct val="20000"/>
                </a:spcBef>
                <a:buChar char="–"/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spcBef>
                  <a:spcPct val="20000"/>
                </a:spcBef>
                <a:buChar char="»"/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defTabSz="4572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defTabSz="4572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defTabSz="4572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defTabSz="4572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 eaLnBrk="1" hangingPunct="1">
                <a:spcBef>
                  <a:spcPct val="0"/>
                </a:spcBef>
                <a:buClrTx/>
                <a:buFontTx/>
                <a:buNone/>
              </a:pPr>
              <a:r>
                <a:rPr lang="en-US" altLang="en-US" sz="1200" b="1">
                  <a:solidFill>
                    <a:srgbClr val="FFFFFF"/>
                  </a:solidFill>
                </a:rPr>
                <a:t>ADAPT</a:t>
              </a:r>
            </a:p>
          </p:txBody>
        </p:sp>
        <p:sp>
          <p:nvSpPr>
            <p:cNvPr id="75" name="Title 1"/>
            <p:cNvSpPr txBox="1">
              <a:spLocks/>
            </p:cNvSpPr>
            <p:nvPr/>
          </p:nvSpPr>
          <p:spPr bwMode="auto">
            <a:xfrm>
              <a:off x="6960434" y="1264705"/>
              <a:ext cx="1803428" cy="50825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/>
            <a:lstStyle>
              <a:lvl1pPr algn="l" rtl="0" eaLnBrk="1" fontAlgn="base" hangingPunct="1">
                <a:spcBef>
                  <a:spcPct val="0"/>
                </a:spcBef>
                <a:spcAft>
                  <a:spcPct val="0"/>
                </a:spcAft>
                <a:defRPr sz="2000" b="1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  <a:lvl2pPr algn="l" rtl="0" eaLnBrk="1" fontAlgn="base" hangingPunct="1">
                <a:spcBef>
                  <a:spcPct val="0"/>
                </a:spcBef>
                <a:spcAft>
                  <a:spcPct val="0"/>
                </a:spcAft>
                <a:defRPr sz="2000" b="1">
                  <a:solidFill>
                    <a:schemeClr val="tx1"/>
                  </a:solidFill>
                  <a:latin typeface="Arial" charset="0"/>
                </a:defRPr>
              </a:lvl2pPr>
              <a:lvl3pPr algn="l" rtl="0" eaLnBrk="1" fontAlgn="base" hangingPunct="1">
                <a:spcBef>
                  <a:spcPct val="0"/>
                </a:spcBef>
                <a:spcAft>
                  <a:spcPct val="0"/>
                </a:spcAft>
                <a:defRPr sz="2000" b="1">
                  <a:solidFill>
                    <a:schemeClr val="tx1"/>
                  </a:solidFill>
                  <a:latin typeface="Arial" charset="0"/>
                </a:defRPr>
              </a:lvl3pPr>
              <a:lvl4pPr algn="l" rtl="0" eaLnBrk="1" fontAlgn="base" hangingPunct="1">
                <a:spcBef>
                  <a:spcPct val="0"/>
                </a:spcBef>
                <a:spcAft>
                  <a:spcPct val="0"/>
                </a:spcAft>
                <a:defRPr sz="2000" b="1">
                  <a:solidFill>
                    <a:schemeClr val="tx1"/>
                  </a:solidFill>
                  <a:latin typeface="Arial" charset="0"/>
                </a:defRPr>
              </a:lvl4pPr>
              <a:lvl5pPr algn="l" rtl="0" eaLnBrk="1" fontAlgn="base" hangingPunct="1">
                <a:spcBef>
                  <a:spcPct val="0"/>
                </a:spcBef>
                <a:spcAft>
                  <a:spcPct val="0"/>
                </a:spcAft>
                <a:defRPr sz="2000" b="1">
                  <a:solidFill>
                    <a:schemeClr val="tx1"/>
                  </a:solidFill>
                  <a:latin typeface="Arial" charset="0"/>
                </a:defRPr>
              </a:lvl5pPr>
              <a:lvl6pPr marL="457092" algn="l" rtl="0" eaLnBrk="1" fontAlgn="base" hangingPunct="1">
                <a:spcBef>
                  <a:spcPct val="0"/>
                </a:spcBef>
                <a:spcAft>
                  <a:spcPct val="0"/>
                </a:spcAft>
                <a:defRPr sz="2000" b="1">
                  <a:solidFill>
                    <a:schemeClr val="tx1"/>
                  </a:solidFill>
                  <a:latin typeface="Arial" charset="0"/>
                </a:defRPr>
              </a:lvl6pPr>
              <a:lvl7pPr marL="914186" algn="l" rtl="0" eaLnBrk="1" fontAlgn="base" hangingPunct="1">
                <a:spcBef>
                  <a:spcPct val="0"/>
                </a:spcBef>
                <a:spcAft>
                  <a:spcPct val="0"/>
                </a:spcAft>
                <a:defRPr sz="2000" b="1">
                  <a:solidFill>
                    <a:schemeClr val="tx1"/>
                  </a:solidFill>
                  <a:latin typeface="Arial" charset="0"/>
                </a:defRPr>
              </a:lvl7pPr>
              <a:lvl8pPr marL="1371279" algn="l" rtl="0" eaLnBrk="1" fontAlgn="base" hangingPunct="1">
                <a:spcBef>
                  <a:spcPct val="0"/>
                </a:spcBef>
                <a:spcAft>
                  <a:spcPct val="0"/>
                </a:spcAft>
                <a:defRPr sz="2000" b="1">
                  <a:solidFill>
                    <a:schemeClr val="tx1"/>
                  </a:solidFill>
                  <a:latin typeface="Arial" charset="0"/>
                </a:defRPr>
              </a:lvl8pPr>
              <a:lvl9pPr marL="1828373" algn="l" rtl="0" eaLnBrk="1" fontAlgn="base" hangingPunct="1">
                <a:spcBef>
                  <a:spcPct val="0"/>
                </a:spcBef>
                <a:spcAft>
                  <a:spcPct val="0"/>
                </a:spcAft>
                <a:defRPr sz="2000" b="1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en-US" sz="1400" i="1" kern="0" dirty="0" smtClean="0"/>
                <a:t>Strategically identify and prioritize areas of compliance risk to more effectively address taxpayer compliance.</a:t>
              </a:r>
              <a:endParaRPr lang="en-US" sz="1400" i="1" kern="0" dirty="0"/>
            </a:p>
          </p:txBody>
        </p:sp>
        <p:sp>
          <p:nvSpPr>
            <p:cNvPr id="76" name="Title 1"/>
            <p:cNvSpPr txBox="1">
              <a:spLocks/>
            </p:cNvSpPr>
            <p:nvPr/>
          </p:nvSpPr>
          <p:spPr bwMode="auto">
            <a:xfrm>
              <a:off x="3000532" y="5502719"/>
              <a:ext cx="2011783" cy="50188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/>
            <a:lstStyle>
              <a:lvl1pPr algn="l" rtl="0" eaLnBrk="1" fontAlgn="base" hangingPunct="1">
                <a:spcBef>
                  <a:spcPct val="0"/>
                </a:spcBef>
                <a:spcAft>
                  <a:spcPct val="0"/>
                </a:spcAft>
                <a:defRPr sz="2000" b="1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  <a:lvl2pPr algn="l" rtl="0" eaLnBrk="1" fontAlgn="base" hangingPunct="1">
                <a:spcBef>
                  <a:spcPct val="0"/>
                </a:spcBef>
                <a:spcAft>
                  <a:spcPct val="0"/>
                </a:spcAft>
                <a:defRPr sz="2000" b="1">
                  <a:solidFill>
                    <a:schemeClr val="tx1"/>
                  </a:solidFill>
                  <a:latin typeface="Arial" charset="0"/>
                </a:defRPr>
              </a:lvl2pPr>
              <a:lvl3pPr algn="l" rtl="0" eaLnBrk="1" fontAlgn="base" hangingPunct="1">
                <a:spcBef>
                  <a:spcPct val="0"/>
                </a:spcBef>
                <a:spcAft>
                  <a:spcPct val="0"/>
                </a:spcAft>
                <a:defRPr sz="2000" b="1">
                  <a:solidFill>
                    <a:schemeClr val="tx1"/>
                  </a:solidFill>
                  <a:latin typeface="Arial" charset="0"/>
                </a:defRPr>
              </a:lvl3pPr>
              <a:lvl4pPr algn="l" rtl="0" eaLnBrk="1" fontAlgn="base" hangingPunct="1">
                <a:spcBef>
                  <a:spcPct val="0"/>
                </a:spcBef>
                <a:spcAft>
                  <a:spcPct val="0"/>
                </a:spcAft>
                <a:defRPr sz="2000" b="1">
                  <a:solidFill>
                    <a:schemeClr val="tx1"/>
                  </a:solidFill>
                  <a:latin typeface="Arial" charset="0"/>
                </a:defRPr>
              </a:lvl4pPr>
              <a:lvl5pPr algn="l" rtl="0" eaLnBrk="1" fontAlgn="base" hangingPunct="1">
                <a:spcBef>
                  <a:spcPct val="0"/>
                </a:spcBef>
                <a:spcAft>
                  <a:spcPct val="0"/>
                </a:spcAft>
                <a:defRPr sz="2000" b="1">
                  <a:solidFill>
                    <a:schemeClr val="tx1"/>
                  </a:solidFill>
                  <a:latin typeface="Arial" charset="0"/>
                </a:defRPr>
              </a:lvl5pPr>
              <a:lvl6pPr marL="457092" algn="l" rtl="0" eaLnBrk="1" fontAlgn="base" hangingPunct="1">
                <a:spcBef>
                  <a:spcPct val="0"/>
                </a:spcBef>
                <a:spcAft>
                  <a:spcPct val="0"/>
                </a:spcAft>
                <a:defRPr sz="2000" b="1">
                  <a:solidFill>
                    <a:schemeClr val="tx1"/>
                  </a:solidFill>
                  <a:latin typeface="Arial" charset="0"/>
                </a:defRPr>
              </a:lvl6pPr>
              <a:lvl7pPr marL="914186" algn="l" rtl="0" eaLnBrk="1" fontAlgn="base" hangingPunct="1">
                <a:spcBef>
                  <a:spcPct val="0"/>
                </a:spcBef>
                <a:spcAft>
                  <a:spcPct val="0"/>
                </a:spcAft>
                <a:defRPr sz="2000" b="1">
                  <a:solidFill>
                    <a:schemeClr val="tx1"/>
                  </a:solidFill>
                  <a:latin typeface="Arial" charset="0"/>
                </a:defRPr>
              </a:lvl7pPr>
              <a:lvl8pPr marL="1371279" algn="l" rtl="0" eaLnBrk="1" fontAlgn="base" hangingPunct="1">
                <a:spcBef>
                  <a:spcPct val="0"/>
                </a:spcBef>
                <a:spcAft>
                  <a:spcPct val="0"/>
                </a:spcAft>
                <a:defRPr sz="2000" b="1">
                  <a:solidFill>
                    <a:schemeClr val="tx1"/>
                  </a:solidFill>
                  <a:latin typeface="Arial" charset="0"/>
                </a:defRPr>
              </a:lvl8pPr>
              <a:lvl9pPr marL="1828373" algn="l" rtl="0" eaLnBrk="1" fontAlgn="base" hangingPunct="1">
                <a:spcBef>
                  <a:spcPct val="0"/>
                </a:spcBef>
                <a:spcAft>
                  <a:spcPct val="0"/>
                </a:spcAft>
                <a:defRPr sz="2000" b="1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en-US" sz="1400" i="1" kern="0" dirty="0" smtClean="0"/>
                <a:t>Decide what work is performed, who performs it, and what support is needed, based on areas of compliance risk.</a:t>
              </a:r>
              <a:endParaRPr lang="en-US" sz="1400" i="1" kern="0" dirty="0"/>
            </a:p>
          </p:txBody>
        </p:sp>
        <p:sp>
          <p:nvSpPr>
            <p:cNvPr id="77" name="Title 1"/>
            <p:cNvSpPr txBox="1">
              <a:spLocks/>
            </p:cNvSpPr>
            <p:nvPr/>
          </p:nvSpPr>
          <p:spPr bwMode="auto">
            <a:xfrm>
              <a:off x="2624336" y="3789426"/>
              <a:ext cx="1520991" cy="98594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/>
            <a:lstStyle>
              <a:lvl1pPr algn="l" rtl="0" eaLnBrk="1" fontAlgn="base" hangingPunct="1">
                <a:spcBef>
                  <a:spcPct val="0"/>
                </a:spcBef>
                <a:spcAft>
                  <a:spcPct val="0"/>
                </a:spcAft>
                <a:defRPr sz="2000" b="1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  <a:lvl2pPr algn="l" rtl="0" eaLnBrk="1" fontAlgn="base" hangingPunct="1">
                <a:spcBef>
                  <a:spcPct val="0"/>
                </a:spcBef>
                <a:spcAft>
                  <a:spcPct val="0"/>
                </a:spcAft>
                <a:defRPr sz="2000" b="1">
                  <a:solidFill>
                    <a:schemeClr val="tx1"/>
                  </a:solidFill>
                  <a:latin typeface="Arial" charset="0"/>
                </a:defRPr>
              </a:lvl2pPr>
              <a:lvl3pPr algn="l" rtl="0" eaLnBrk="1" fontAlgn="base" hangingPunct="1">
                <a:spcBef>
                  <a:spcPct val="0"/>
                </a:spcBef>
                <a:spcAft>
                  <a:spcPct val="0"/>
                </a:spcAft>
                <a:defRPr sz="2000" b="1">
                  <a:solidFill>
                    <a:schemeClr val="tx1"/>
                  </a:solidFill>
                  <a:latin typeface="Arial" charset="0"/>
                </a:defRPr>
              </a:lvl3pPr>
              <a:lvl4pPr algn="l" rtl="0" eaLnBrk="1" fontAlgn="base" hangingPunct="1">
                <a:spcBef>
                  <a:spcPct val="0"/>
                </a:spcBef>
                <a:spcAft>
                  <a:spcPct val="0"/>
                </a:spcAft>
                <a:defRPr sz="2000" b="1">
                  <a:solidFill>
                    <a:schemeClr val="tx1"/>
                  </a:solidFill>
                  <a:latin typeface="Arial" charset="0"/>
                </a:defRPr>
              </a:lvl4pPr>
              <a:lvl5pPr algn="l" rtl="0" eaLnBrk="1" fontAlgn="base" hangingPunct="1">
                <a:spcBef>
                  <a:spcPct val="0"/>
                </a:spcBef>
                <a:spcAft>
                  <a:spcPct val="0"/>
                </a:spcAft>
                <a:defRPr sz="2000" b="1">
                  <a:solidFill>
                    <a:schemeClr val="tx1"/>
                  </a:solidFill>
                  <a:latin typeface="Arial" charset="0"/>
                </a:defRPr>
              </a:lvl5pPr>
              <a:lvl6pPr marL="457092" algn="l" rtl="0" eaLnBrk="1" fontAlgn="base" hangingPunct="1">
                <a:spcBef>
                  <a:spcPct val="0"/>
                </a:spcBef>
                <a:spcAft>
                  <a:spcPct val="0"/>
                </a:spcAft>
                <a:defRPr sz="2000" b="1">
                  <a:solidFill>
                    <a:schemeClr val="tx1"/>
                  </a:solidFill>
                  <a:latin typeface="Arial" charset="0"/>
                </a:defRPr>
              </a:lvl6pPr>
              <a:lvl7pPr marL="914186" algn="l" rtl="0" eaLnBrk="1" fontAlgn="base" hangingPunct="1">
                <a:spcBef>
                  <a:spcPct val="0"/>
                </a:spcBef>
                <a:spcAft>
                  <a:spcPct val="0"/>
                </a:spcAft>
                <a:defRPr sz="2000" b="1">
                  <a:solidFill>
                    <a:schemeClr val="tx1"/>
                  </a:solidFill>
                  <a:latin typeface="Arial" charset="0"/>
                </a:defRPr>
              </a:lvl7pPr>
              <a:lvl8pPr marL="1371279" algn="l" rtl="0" eaLnBrk="1" fontAlgn="base" hangingPunct="1">
                <a:spcBef>
                  <a:spcPct val="0"/>
                </a:spcBef>
                <a:spcAft>
                  <a:spcPct val="0"/>
                </a:spcAft>
                <a:defRPr sz="2000" b="1">
                  <a:solidFill>
                    <a:schemeClr val="tx1"/>
                  </a:solidFill>
                  <a:latin typeface="Arial" charset="0"/>
                </a:defRPr>
              </a:lvl8pPr>
              <a:lvl9pPr marL="1828373" algn="l" rtl="0" eaLnBrk="1" fontAlgn="base" hangingPunct="1">
                <a:spcBef>
                  <a:spcPct val="0"/>
                </a:spcBef>
                <a:spcAft>
                  <a:spcPct val="0"/>
                </a:spcAft>
                <a:defRPr sz="2000" b="1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en-US" sz="1400" i="1" kern="0" dirty="0" smtClean="0"/>
                <a:t>Execute work with dynamic tools, enhanced training, a robust support infrastructure, and timely feedback mechanisms.</a:t>
              </a:r>
              <a:endParaRPr lang="en-US" sz="1400" i="1" kern="0" dirty="0"/>
            </a:p>
          </p:txBody>
        </p:sp>
        <p:sp>
          <p:nvSpPr>
            <p:cNvPr id="78" name="Title 1"/>
            <p:cNvSpPr txBox="1">
              <a:spLocks/>
            </p:cNvSpPr>
            <p:nvPr/>
          </p:nvSpPr>
          <p:spPr bwMode="auto">
            <a:xfrm>
              <a:off x="5843420" y="3518100"/>
              <a:ext cx="1074185" cy="661115"/>
            </a:xfrm>
            <a:custGeom>
              <a:avLst/>
              <a:gdLst>
                <a:gd name="connsiteX0" fmla="*/ 0 w 1593216"/>
                <a:gd name="connsiteY0" fmla="*/ 0 h 594360"/>
                <a:gd name="connsiteX1" fmla="*/ 1593216 w 1593216"/>
                <a:gd name="connsiteY1" fmla="*/ 0 h 594360"/>
                <a:gd name="connsiteX2" fmla="*/ 1593216 w 1593216"/>
                <a:gd name="connsiteY2" fmla="*/ 594360 h 594360"/>
                <a:gd name="connsiteX3" fmla="*/ 0 w 1593216"/>
                <a:gd name="connsiteY3" fmla="*/ 594360 h 594360"/>
                <a:gd name="connsiteX4" fmla="*/ 0 w 1593216"/>
                <a:gd name="connsiteY4" fmla="*/ 0 h 594360"/>
                <a:gd name="connsiteX0" fmla="*/ 0 w 1593216"/>
                <a:gd name="connsiteY0" fmla="*/ 0 h 594360"/>
                <a:gd name="connsiteX1" fmla="*/ 1593216 w 1593216"/>
                <a:gd name="connsiteY1" fmla="*/ 0 h 594360"/>
                <a:gd name="connsiteX2" fmla="*/ 1327403 w 1593216"/>
                <a:gd name="connsiteY2" fmla="*/ 456137 h 594360"/>
                <a:gd name="connsiteX3" fmla="*/ 0 w 1593216"/>
                <a:gd name="connsiteY3" fmla="*/ 594360 h 594360"/>
                <a:gd name="connsiteX4" fmla="*/ 0 w 1593216"/>
                <a:gd name="connsiteY4" fmla="*/ 0 h 594360"/>
                <a:gd name="connsiteX0" fmla="*/ 0 w 1593216"/>
                <a:gd name="connsiteY0" fmla="*/ 0 h 594360"/>
                <a:gd name="connsiteX1" fmla="*/ 1593216 w 1593216"/>
                <a:gd name="connsiteY1" fmla="*/ 0 h 594360"/>
                <a:gd name="connsiteX2" fmla="*/ 1508156 w 1593216"/>
                <a:gd name="connsiteY2" fmla="*/ 509300 h 594360"/>
                <a:gd name="connsiteX3" fmla="*/ 0 w 1593216"/>
                <a:gd name="connsiteY3" fmla="*/ 594360 h 594360"/>
                <a:gd name="connsiteX4" fmla="*/ 0 w 1593216"/>
                <a:gd name="connsiteY4" fmla="*/ 0 h 594360"/>
                <a:gd name="connsiteX0" fmla="*/ 0 w 1593216"/>
                <a:gd name="connsiteY0" fmla="*/ 0 h 594360"/>
                <a:gd name="connsiteX1" fmla="*/ 1593216 w 1593216"/>
                <a:gd name="connsiteY1" fmla="*/ 0 h 594360"/>
                <a:gd name="connsiteX2" fmla="*/ 1508156 w 1593216"/>
                <a:gd name="connsiteY2" fmla="*/ 509300 h 594360"/>
                <a:gd name="connsiteX3" fmla="*/ 0 w 1593216"/>
                <a:gd name="connsiteY3" fmla="*/ 594360 h 594360"/>
                <a:gd name="connsiteX4" fmla="*/ 0 w 1593216"/>
                <a:gd name="connsiteY4" fmla="*/ 0 h 594360"/>
                <a:gd name="connsiteX0" fmla="*/ 0 w 1593216"/>
                <a:gd name="connsiteY0" fmla="*/ 0 h 594360"/>
                <a:gd name="connsiteX1" fmla="*/ 1593216 w 1593216"/>
                <a:gd name="connsiteY1" fmla="*/ 0 h 594360"/>
                <a:gd name="connsiteX2" fmla="*/ 1369933 w 1593216"/>
                <a:gd name="connsiteY2" fmla="*/ 477403 h 594360"/>
                <a:gd name="connsiteX3" fmla="*/ 0 w 1593216"/>
                <a:gd name="connsiteY3" fmla="*/ 594360 h 594360"/>
                <a:gd name="connsiteX4" fmla="*/ 0 w 1593216"/>
                <a:gd name="connsiteY4" fmla="*/ 0 h 594360"/>
                <a:gd name="connsiteX0" fmla="*/ 0 w 1593216"/>
                <a:gd name="connsiteY0" fmla="*/ 0 h 594360"/>
                <a:gd name="connsiteX1" fmla="*/ 1593216 w 1593216"/>
                <a:gd name="connsiteY1" fmla="*/ 0 h 594360"/>
                <a:gd name="connsiteX2" fmla="*/ 1369933 w 1593216"/>
                <a:gd name="connsiteY2" fmla="*/ 477403 h 594360"/>
                <a:gd name="connsiteX3" fmla="*/ 0 w 1593216"/>
                <a:gd name="connsiteY3" fmla="*/ 594360 h 594360"/>
                <a:gd name="connsiteX4" fmla="*/ 0 w 1593216"/>
                <a:gd name="connsiteY4" fmla="*/ 0 h 594360"/>
                <a:gd name="connsiteX0" fmla="*/ 0 w 1593216"/>
                <a:gd name="connsiteY0" fmla="*/ 0 h 594360"/>
                <a:gd name="connsiteX1" fmla="*/ 1593216 w 1593216"/>
                <a:gd name="connsiteY1" fmla="*/ 0 h 594360"/>
                <a:gd name="connsiteX2" fmla="*/ 1369933 w 1593216"/>
                <a:gd name="connsiteY2" fmla="*/ 477403 h 594360"/>
                <a:gd name="connsiteX3" fmla="*/ 0 w 1593216"/>
                <a:gd name="connsiteY3" fmla="*/ 594360 h 594360"/>
                <a:gd name="connsiteX4" fmla="*/ 0 w 1593216"/>
                <a:gd name="connsiteY4" fmla="*/ 0 h 594360"/>
                <a:gd name="connsiteX0" fmla="*/ 0 w 1593216"/>
                <a:gd name="connsiteY0" fmla="*/ 0 h 599704"/>
                <a:gd name="connsiteX1" fmla="*/ 1593216 w 1593216"/>
                <a:gd name="connsiteY1" fmla="*/ 0 h 599704"/>
                <a:gd name="connsiteX2" fmla="*/ 1369933 w 1593216"/>
                <a:gd name="connsiteY2" fmla="*/ 477403 h 599704"/>
                <a:gd name="connsiteX3" fmla="*/ 0 w 1593216"/>
                <a:gd name="connsiteY3" fmla="*/ 594360 h 599704"/>
                <a:gd name="connsiteX4" fmla="*/ 0 w 1593216"/>
                <a:gd name="connsiteY4" fmla="*/ 0 h 5997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93216" h="599704">
                  <a:moveTo>
                    <a:pt x="0" y="0"/>
                  </a:moveTo>
                  <a:lnTo>
                    <a:pt x="1593216" y="0"/>
                  </a:lnTo>
                  <a:cubicBezTo>
                    <a:pt x="1518788" y="159134"/>
                    <a:pt x="1603849" y="339535"/>
                    <a:pt x="1369933" y="477403"/>
                  </a:cubicBezTo>
                  <a:cubicBezTo>
                    <a:pt x="1164925" y="675876"/>
                    <a:pt x="502719" y="566007"/>
                    <a:pt x="0" y="594360"/>
                  </a:cubicBezTo>
                  <a:lnTo>
                    <a:pt x="0" y="0"/>
                  </a:lnTo>
                  <a:close/>
                </a:path>
              </a:pathLst>
            </a:custGeom>
            <a:noFill/>
            <a:ln>
              <a:noFill/>
            </a:ln>
            <a:extLst/>
          </p:spPr>
          <p:txBody>
            <a:bodyPr lIns="0" tIns="0" rIns="0" bIns="0" anchor="ctr"/>
            <a:lstStyle>
              <a:lvl1pPr algn="l" rtl="0" eaLnBrk="1" fontAlgn="base" hangingPunct="1">
                <a:spcBef>
                  <a:spcPct val="0"/>
                </a:spcBef>
                <a:spcAft>
                  <a:spcPct val="0"/>
                </a:spcAft>
                <a:defRPr sz="2000" b="1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  <a:lvl2pPr algn="l" rtl="0" eaLnBrk="1" fontAlgn="base" hangingPunct="1">
                <a:spcBef>
                  <a:spcPct val="0"/>
                </a:spcBef>
                <a:spcAft>
                  <a:spcPct val="0"/>
                </a:spcAft>
                <a:defRPr sz="2000" b="1">
                  <a:solidFill>
                    <a:schemeClr val="tx1"/>
                  </a:solidFill>
                  <a:latin typeface="Arial" charset="0"/>
                </a:defRPr>
              </a:lvl2pPr>
              <a:lvl3pPr algn="l" rtl="0" eaLnBrk="1" fontAlgn="base" hangingPunct="1">
                <a:spcBef>
                  <a:spcPct val="0"/>
                </a:spcBef>
                <a:spcAft>
                  <a:spcPct val="0"/>
                </a:spcAft>
                <a:defRPr sz="2000" b="1">
                  <a:solidFill>
                    <a:schemeClr val="tx1"/>
                  </a:solidFill>
                  <a:latin typeface="Arial" charset="0"/>
                </a:defRPr>
              </a:lvl3pPr>
              <a:lvl4pPr algn="l" rtl="0" eaLnBrk="1" fontAlgn="base" hangingPunct="1">
                <a:spcBef>
                  <a:spcPct val="0"/>
                </a:spcBef>
                <a:spcAft>
                  <a:spcPct val="0"/>
                </a:spcAft>
                <a:defRPr sz="2000" b="1">
                  <a:solidFill>
                    <a:schemeClr val="tx1"/>
                  </a:solidFill>
                  <a:latin typeface="Arial" charset="0"/>
                </a:defRPr>
              </a:lvl4pPr>
              <a:lvl5pPr algn="l" rtl="0" eaLnBrk="1" fontAlgn="base" hangingPunct="1">
                <a:spcBef>
                  <a:spcPct val="0"/>
                </a:spcBef>
                <a:spcAft>
                  <a:spcPct val="0"/>
                </a:spcAft>
                <a:defRPr sz="2000" b="1">
                  <a:solidFill>
                    <a:schemeClr val="tx1"/>
                  </a:solidFill>
                  <a:latin typeface="Arial" charset="0"/>
                </a:defRPr>
              </a:lvl5pPr>
              <a:lvl6pPr marL="457092" algn="l" rtl="0" eaLnBrk="1" fontAlgn="base" hangingPunct="1">
                <a:spcBef>
                  <a:spcPct val="0"/>
                </a:spcBef>
                <a:spcAft>
                  <a:spcPct val="0"/>
                </a:spcAft>
                <a:defRPr sz="2000" b="1">
                  <a:solidFill>
                    <a:schemeClr val="tx1"/>
                  </a:solidFill>
                  <a:latin typeface="Arial" charset="0"/>
                </a:defRPr>
              </a:lvl6pPr>
              <a:lvl7pPr marL="914186" algn="l" rtl="0" eaLnBrk="1" fontAlgn="base" hangingPunct="1">
                <a:spcBef>
                  <a:spcPct val="0"/>
                </a:spcBef>
                <a:spcAft>
                  <a:spcPct val="0"/>
                </a:spcAft>
                <a:defRPr sz="2000" b="1">
                  <a:solidFill>
                    <a:schemeClr val="tx1"/>
                  </a:solidFill>
                  <a:latin typeface="Arial" charset="0"/>
                </a:defRPr>
              </a:lvl7pPr>
              <a:lvl8pPr marL="1371279" algn="l" rtl="0" eaLnBrk="1" fontAlgn="base" hangingPunct="1">
                <a:spcBef>
                  <a:spcPct val="0"/>
                </a:spcBef>
                <a:spcAft>
                  <a:spcPct val="0"/>
                </a:spcAft>
                <a:defRPr sz="2000" b="1">
                  <a:solidFill>
                    <a:schemeClr val="tx1"/>
                  </a:solidFill>
                  <a:latin typeface="Arial" charset="0"/>
                </a:defRPr>
              </a:lvl8pPr>
              <a:lvl9pPr marL="1828373" algn="l" rtl="0" eaLnBrk="1" fontAlgn="base" hangingPunct="1">
                <a:spcBef>
                  <a:spcPct val="0"/>
                </a:spcBef>
                <a:spcAft>
                  <a:spcPct val="0"/>
                </a:spcAft>
                <a:defRPr sz="2000" b="1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en-US" sz="1100" i="1" kern="0" dirty="0" smtClean="0"/>
                <a:t>Continually </a:t>
              </a:r>
              <a:r>
                <a:rPr lang="en-US" sz="1100" i="1" kern="0" dirty="0"/>
                <a:t>gather, assess, and incorporate feedback to enhance operations and improve taxpayer compliance.</a:t>
              </a:r>
            </a:p>
          </p:txBody>
        </p:sp>
        <p:sp>
          <p:nvSpPr>
            <p:cNvPr id="90" name="Title 1"/>
            <p:cNvSpPr txBox="1">
              <a:spLocks/>
            </p:cNvSpPr>
            <p:nvPr/>
          </p:nvSpPr>
          <p:spPr bwMode="auto">
            <a:xfrm>
              <a:off x="2806068" y="1320753"/>
              <a:ext cx="3125324" cy="41399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/>
            <a:lstStyle>
              <a:lvl1pPr algn="l" rtl="0" eaLnBrk="1" fontAlgn="base" hangingPunct="1">
                <a:spcBef>
                  <a:spcPct val="0"/>
                </a:spcBef>
                <a:spcAft>
                  <a:spcPct val="0"/>
                </a:spcAft>
                <a:defRPr sz="2000" b="1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  <a:lvl2pPr algn="l" rtl="0" eaLnBrk="1" fontAlgn="base" hangingPunct="1">
                <a:spcBef>
                  <a:spcPct val="0"/>
                </a:spcBef>
                <a:spcAft>
                  <a:spcPct val="0"/>
                </a:spcAft>
                <a:defRPr sz="2000" b="1">
                  <a:solidFill>
                    <a:schemeClr val="tx1"/>
                  </a:solidFill>
                  <a:latin typeface="Arial" charset="0"/>
                </a:defRPr>
              </a:lvl2pPr>
              <a:lvl3pPr algn="l" rtl="0" eaLnBrk="1" fontAlgn="base" hangingPunct="1">
                <a:spcBef>
                  <a:spcPct val="0"/>
                </a:spcBef>
                <a:spcAft>
                  <a:spcPct val="0"/>
                </a:spcAft>
                <a:defRPr sz="2000" b="1">
                  <a:solidFill>
                    <a:schemeClr val="tx1"/>
                  </a:solidFill>
                  <a:latin typeface="Arial" charset="0"/>
                </a:defRPr>
              </a:lvl3pPr>
              <a:lvl4pPr algn="l" rtl="0" eaLnBrk="1" fontAlgn="base" hangingPunct="1">
                <a:spcBef>
                  <a:spcPct val="0"/>
                </a:spcBef>
                <a:spcAft>
                  <a:spcPct val="0"/>
                </a:spcAft>
                <a:defRPr sz="2000" b="1">
                  <a:solidFill>
                    <a:schemeClr val="tx1"/>
                  </a:solidFill>
                  <a:latin typeface="Arial" charset="0"/>
                </a:defRPr>
              </a:lvl4pPr>
              <a:lvl5pPr algn="l" rtl="0" eaLnBrk="1" fontAlgn="base" hangingPunct="1">
                <a:spcBef>
                  <a:spcPct val="0"/>
                </a:spcBef>
                <a:spcAft>
                  <a:spcPct val="0"/>
                </a:spcAft>
                <a:defRPr sz="2000" b="1">
                  <a:solidFill>
                    <a:schemeClr val="tx1"/>
                  </a:solidFill>
                  <a:latin typeface="Arial" charset="0"/>
                </a:defRPr>
              </a:lvl5pPr>
              <a:lvl6pPr marL="457092" algn="l" rtl="0" eaLnBrk="1" fontAlgn="base" hangingPunct="1">
                <a:spcBef>
                  <a:spcPct val="0"/>
                </a:spcBef>
                <a:spcAft>
                  <a:spcPct val="0"/>
                </a:spcAft>
                <a:defRPr sz="2000" b="1">
                  <a:solidFill>
                    <a:schemeClr val="tx1"/>
                  </a:solidFill>
                  <a:latin typeface="Arial" charset="0"/>
                </a:defRPr>
              </a:lvl6pPr>
              <a:lvl7pPr marL="914186" algn="l" rtl="0" eaLnBrk="1" fontAlgn="base" hangingPunct="1">
                <a:spcBef>
                  <a:spcPct val="0"/>
                </a:spcBef>
                <a:spcAft>
                  <a:spcPct val="0"/>
                </a:spcAft>
                <a:defRPr sz="2000" b="1">
                  <a:solidFill>
                    <a:schemeClr val="tx1"/>
                  </a:solidFill>
                  <a:latin typeface="Arial" charset="0"/>
                </a:defRPr>
              </a:lvl7pPr>
              <a:lvl8pPr marL="1371279" algn="l" rtl="0" eaLnBrk="1" fontAlgn="base" hangingPunct="1">
                <a:spcBef>
                  <a:spcPct val="0"/>
                </a:spcBef>
                <a:spcAft>
                  <a:spcPct val="0"/>
                </a:spcAft>
                <a:defRPr sz="2000" b="1">
                  <a:solidFill>
                    <a:schemeClr val="tx1"/>
                  </a:solidFill>
                  <a:latin typeface="Arial" charset="0"/>
                </a:defRPr>
              </a:lvl8pPr>
              <a:lvl9pPr marL="1828373" algn="l" rtl="0" eaLnBrk="1" fontAlgn="base" hangingPunct="1">
                <a:spcBef>
                  <a:spcPct val="0"/>
                </a:spcBef>
                <a:spcAft>
                  <a:spcPct val="0"/>
                </a:spcAft>
                <a:defRPr sz="2000" b="1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en-US" sz="1600" i="1" kern="0" dirty="0" smtClean="0"/>
                <a:t>Using the AGILE model…</a:t>
              </a:r>
              <a:endParaRPr lang="en-US" sz="1600" i="1" kern="0" dirty="0"/>
            </a:p>
          </p:txBody>
        </p:sp>
      </p:grpSp>
    </p:spTree>
    <p:extLst>
      <p:ext uri="{BB962C8B-B14F-4D97-AF65-F5344CB8AC3E}">
        <p14:creationId xmlns:p14="http://schemas.microsoft.com/office/powerpoint/2010/main" val="14253141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sz="3600" dirty="0" smtClean="0"/>
              <a:t>LB&amp;I’s Future Structure</a:t>
            </a:r>
            <a:endParaRPr lang="en-US" sz="360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The high level structure reflected in this presentation is largely final.   As we continue our work building out the structure down to front line level employees, we may make changes.  </a:t>
            </a:r>
            <a:endParaRPr lang="en-US" dirty="0" smtClean="0"/>
          </a:p>
          <a:p>
            <a:r>
              <a:rPr lang="en-US" dirty="0" smtClean="0"/>
              <a:t>Implementation </a:t>
            </a:r>
            <a:r>
              <a:rPr lang="en-US" dirty="0"/>
              <a:t>of this new structure is scheduled to take place in early calendar year 2016.</a:t>
            </a:r>
          </a:p>
        </p:txBody>
      </p:sp>
    </p:spTree>
    <p:extLst>
      <p:ext uri="{BB962C8B-B14F-4D97-AF65-F5344CB8AC3E}">
        <p14:creationId xmlns:p14="http://schemas.microsoft.com/office/powerpoint/2010/main" val="137761840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107950"/>
            <a:ext cx="9144000" cy="901700"/>
          </a:xfrm>
        </p:spPr>
        <p:txBody>
          <a:bodyPr/>
          <a:lstStyle/>
          <a:p>
            <a:pPr algn="ctr"/>
            <a:r>
              <a:rPr lang="en-US" dirty="0" smtClean="0"/>
              <a:t>LB&amp;I High Level Organizational Chart </a:t>
            </a:r>
            <a:endParaRPr lang="en-US" dirty="0"/>
          </a:p>
        </p:txBody>
      </p:sp>
      <p:pic>
        <p:nvPicPr>
          <p:cNvPr id="24578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8131" y="1217253"/>
            <a:ext cx="8918369" cy="562714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1356237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ustom Design">
  <a:themeElements>
    <a:clrScheme name="Custom Design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Custom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>
    <a:extraClrScheme>
      <a:clrScheme name="Custom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ustom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ustom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ustom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ustom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ustom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Internal Revenue Service">
  <a:themeElements>
    <a:clrScheme name="Booz Allen International">
      <a:dk1>
        <a:srgbClr val="000000"/>
      </a:dk1>
      <a:lt1>
        <a:srgbClr val="FFFFFF"/>
      </a:lt1>
      <a:dk2>
        <a:srgbClr val="404040"/>
      </a:dk2>
      <a:lt2>
        <a:srgbClr val="808080"/>
      </a:lt2>
      <a:accent1>
        <a:srgbClr val="404040"/>
      </a:accent1>
      <a:accent2>
        <a:srgbClr val="0F4318"/>
      </a:accent2>
      <a:accent3>
        <a:srgbClr val="002060"/>
      </a:accent3>
      <a:accent4>
        <a:srgbClr val="E98E31"/>
      </a:accent4>
      <a:accent5>
        <a:srgbClr val="88AB87"/>
      </a:accent5>
      <a:accent6>
        <a:srgbClr val="066BB0"/>
      </a:accent6>
      <a:hlink>
        <a:srgbClr val="46B19C"/>
      </a:hlink>
      <a:folHlink>
        <a:srgbClr val="066BB0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6"/>
        </a:solidFill>
        <a:ln>
          <a:noFill/>
        </a:ln>
        <a:extLst/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chemeClr val="bg1"/>
            </a:solidFill>
          </a:defRPr>
        </a:defPPr>
      </a:lstStyle>
    </a:spDef>
    <a:txDef>
      <a:spPr bwMode="gray">
        <a:noFill/>
        <a:ln w="9525" algn="ctr">
          <a:noFill/>
          <a:miter lim="800000"/>
          <a:headEnd/>
          <a:tailEnd/>
        </a:ln>
      </a:spPr>
      <a:bodyPr wrap="none" lIns="0" tIns="0" rIns="0" bIns="0" anchor="ctr" anchorCtr="1">
        <a:spAutoFit/>
      </a:bodyPr>
      <a:lstStyle>
        <a:defPPr algn="ctr">
          <a:defRPr sz="1400" b="1" dirty="0" smtClean="0"/>
        </a:defPPr>
      </a:lstStyle>
    </a:txDef>
  </a:objectDefaults>
  <a:extraClrSchemeLst/>
  <a:extLst>
    <a:ext uri="{05A4C25C-085E-4340-85A3-A5531E510DB2}">
      <thm15:themeFamily xmlns="" xmlns:thm15="http://schemas.microsoft.com/office/thememl/2012/main" name="Booz Allen MENA Blue.pptx" id="{026B9CB6-A899-4355-B171-919D2B328FA2}" vid="{5A84495B-62E8-475B-A153-FF4738B05CC6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&#65279;<?xml version="1.0" encoding="UTF-8" standalone="yes"?>
<Relationships xmlns="http://schemas.openxmlformats.org/package/2006/relationships">
  <Relationship Id="rId1" Type="http://schemas.openxmlformats.org/officeDocument/2006/relationships/customXmlProps" Target="itemProps1.xml" />
</Relationships>
</file>

<file path=customXml/_rels/item2.xml.rels>&#65279;<?xml version="1.0" encoding="UTF-8" standalone="yes"?>
<Relationships xmlns="http://schemas.openxmlformats.org/package/2006/relationships">
  <Relationship Id="rId1" Type="http://schemas.openxmlformats.org/officeDocument/2006/relationships/customXmlProps" Target="itemProps2.xml" />
</Relationships>
</file>

<file path=customXml/_rels/item3.xml.rels>&#65279;<?xml version="1.0" encoding="UTF-8" standalone="yes"?>
<Relationships xmlns="http://schemas.openxmlformats.org/package/2006/relationships">
  <Relationship Id="rId1" Type="http://schemas.openxmlformats.org/officeDocument/2006/relationships/customXmlProps" Target="itemProps3.xml" />
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1899C55B0E76E74A84ABC4781A4F64C4" ma:contentTypeVersion="5" ma:contentTypeDescription="Create a new document." ma:contentTypeScope="" ma:versionID="49ec90b2fd04b563213ebe13cf2a274b">
  <xsd:schema xmlns:xsd="http://www.w3.org/2001/XMLSchema" xmlns:xs="http://www.w3.org/2001/XMLSchema" xmlns:p="http://schemas.microsoft.com/office/2006/metadata/properties" xmlns:ns1="http://schemas.microsoft.com/sharepoint/v3" targetNamespace="http://schemas.microsoft.com/office/2006/metadata/properties" ma:root="true" ma:fieldsID="d5022ca329a5e52a90525e07fafc0e55" ns1:_="">
    <xsd:import namespace="http://schemas.microsoft.com/sharepoint/v3"/>
    <xsd:element name="properties">
      <xsd:complexType>
        <xsd:sequence>
          <xsd:element name="documentManagement">
            <xsd:complexType>
              <xsd:all>
                <xsd:element ref="ns1:ImageWidth" minOccurs="0"/>
                <xsd:element ref="ns1:ImageHeight" minOccurs="0"/>
                <xsd:element ref="ns1:PublishingStartDate" minOccurs="0"/>
                <xsd:element ref="ns1:PublishingExpirationDat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ImageWidth" ma:index="9" nillable="true" ma:displayName="Picture Width" ma:internalName="ImageWidth" ma:readOnly="true">
      <xsd:simpleType>
        <xsd:restriction base="dms:Unknown"/>
      </xsd:simpleType>
    </xsd:element>
    <xsd:element name="ImageHeight" ma:index="10" nillable="true" ma:displayName="Picture Height" ma:internalName="ImageHeight" ma:readOnly="true">
      <xsd:simpleType>
        <xsd:restriction base="dms:Unknown"/>
      </xsd:simpleType>
    </xsd:element>
    <xsd:element name="PublishingStartDate" ma:index="12" nillable="true" ma:displayName="Scheduling Start Date" ma:description="" ma:internalName="PublishingStartDate">
      <xsd:simpleType>
        <xsd:restriction base="dms:Unknown"/>
      </xsd:simpleType>
    </xsd:element>
    <xsd:element name="PublishingExpirationDate" ma:index="13" nillable="true" ma:displayName="Scheduling End Date" ma:description="" ma:internalName="PublishingExpirationDate">
      <xsd:simpleType>
        <xsd:restriction base="dms:Unknown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Company Name"/>
        <xsd:element ref="dc:subject" minOccurs="0" maxOccurs="1"/>
        <xsd:element ref="dc:description" minOccurs="0" maxOccurs="1" ma:index="14" ma:displayName="Comments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PublishingExpirationDate xmlns="http://schemas.microsoft.com/sharepoint/v3" xsi:nil="true"/>
    <PublishingStartDate xmlns="http://schemas.microsoft.com/sharepoint/v3" xsi:nil="true"/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D7107C53-9AF5-4F91-A599-D24B737AAF2E}"/>
</file>

<file path=customXml/itemProps2.xml><?xml version="1.0" encoding="utf-8"?>
<ds:datastoreItem xmlns:ds="http://schemas.openxmlformats.org/officeDocument/2006/customXml" ds:itemID="{DD6458A9-6167-40A7-BF05-C34483E92B2D}"/>
</file>

<file path=customXml/itemProps3.xml><?xml version="1.0" encoding="utf-8"?>
<ds:datastoreItem xmlns:ds="http://schemas.openxmlformats.org/officeDocument/2006/customXml" ds:itemID="{A0C17D92-A894-41D8-8E7C-CDD74E3D0CD9}"/>
</file>

<file path=docProps/app.xml><?xml version="1.0" encoding="utf-8"?>
<Properties xmlns="http://schemas.openxmlformats.org/officeDocument/2006/extended-properties" xmlns:vt="http://schemas.openxmlformats.org/officeDocument/2006/docPropsVTypes">
  <Words>845</Words>
  <Application>Microsoft Office PowerPoint</Application>
  <PresentationFormat>On-screen Show (4:3)</PresentationFormat>
  <Paragraphs>135</Paragraphs>
  <Slides>14</Slides>
  <Notes>14</Notes>
  <HiddenSlides>0</HiddenSlides>
  <MMClips>0</MMClips>
  <ScaleCrop>false</ScaleCrop>
  <HeadingPairs>
    <vt:vector size="6" baseType="variant">
      <vt:variant>
        <vt:lpstr>Theme</vt:lpstr>
      </vt:variant>
      <vt:variant>
        <vt:i4>2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14</vt:i4>
      </vt:variant>
    </vt:vector>
  </HeadingPairs>
  <TitlesOfParts>
    <vt:vector size="18" baseType="lpstr">
      <vt:lpstr>Custom Design</vt:lpstr>
      <vt:lpstr>Internal Revenue Service</vt:lpstr>
      <vt:lpstr>think-cell Slide</vt:lpstr>
      <vt:lpstr>Worksheet</vt:lpstr>
      <vt:lpstr>IRS Large Business &amp; International Division (LB&amp;I)</vt:lpstr>
      <vt:lpstr>Why does LB&amp;I need to change?</vt:lpstr>
      <vt:lpstr> A core set of guiding principles establishes the foundation for where LB&amp;I wants to be in the future.</vt:lpstr>
      <vt:lpstr>Flexible, Well-Trained Workforce</vt:lpstr>
      <vt:lpstr>Selection of Better Work  &amp;  Tailored Treatments</vt:lpstr>
      <vt:lpstr>Integrated Feedback Loop</vt:lpstr>
      <vt:lpstr>PowerPoint Presentation</vt:lpstr>
      <vt:lpstr>LB&amp;I’s Future Structure</vt:lpstr>
      <vt:lpstr>LB&amp;I High Level Organizational Chart </vt:lpstr>
      <vt:lpstr>The Practice Area Approach</vt:lpstr>
      <vt:lpstr>Practice Areas</vt:lpstr>
      <vt:lpstr>Compliance Practice Areas</vt:lpstr>
      <vt:lpstr>Compliance Practice Area Map     </vt:lpstr>
      <vt:lpstr>Summary</vt:lpstr>
    </vt:vector>
  </TitlesOfParts>
  <Company/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description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1899C55B0E76E74A84ABC4781A4F64C4</vt:lpwstr>
  </property>
</Properties>
</file>